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2.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27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2976" userDrawn="1">
          <p15:clr>
            <a:srgbClr val="A4A3A4"/>
          </p15:clr>
        </p15:guide>
        <p15:guide id="3" pos="7536"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8C43A3-26AC-42EB-98D9-E2E39A630C0B}" v="22" dt="2023-02-05T22:55:30.65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10" d="100"/>
          <a:sy n="110" d="100"/>
        </p:scale>
        <p:origin x="555" y="39"/>
      </p:cViewPr>
      <p:guideLst>
        <p:guide orient="horz" pos="648"/>
        <p:guide pos="2976"/>
        <p:guide pos="7536"/>
        <p:guide orient="horz" pos="4032"/>
        <p:guide pos="96"/>
        <p:guide pos="285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25BE2D22-C10C-457D-82F3-1AE0124C2F97}"/>
    <pc:docChg chg="undo custSel addSld delSld modSld sldOrd">
      <pc:chgData name="Roberto Gallardo" userId="49a044883f185952" providerId="LiveId" clId="{25BE2D22-C10C-457D-82F3-1AE0124C2F97}" dt="2023-01-14T14:25:47.762" v="2326"/>
      <pc:docMkLst>
        <pc:docMk/>
      </pc:docMkLst>
      <pc:sldChg chg="modSp mod">
        <pc:chgData name="Roberto Gallardo" userId="49a044883f185952" providerId="LiveId" clId="{25BE2D22-C10C-457D-82F3-1AE0124C2F97}" dt="2023-01-14T12:50:38.631" v="2288" actId="255"/>
        <pc:sldMkLst>
          <pc:docMk/>
          <pc:sldMk cId="2846901679" sldId="256"/>
        </pc:sldMkLst>
        <pc:spChg chg="mod">
          <ac:chgData name="Roberto Gallardo" userId="49a044883f185952" providerId="LiveId" clId="{25BE2D22-C10C-457D-82F3-1AE0124C2F97}" dt="2023-01-09T23:48:20.133" v="113" actId="14100"/>
          <ac:spMkLst>
            <pc:docMk/>
            <pc:sldMk cId="2846901679" sldId="256"/>
            <ac:spMk id="6" creationId="{EC0D6789-6A37-0043-937E-6C3320ED0C53}"/>
          </ac:spMkLst>
        </pc:spChg>
        <pc:spChg chg="mod">
          <ac:chgData name="Roberto Gallardo" userId="49a044883f185952" providerId="LiveId" clId="{25BE2D22-C10C-457D-82F3-1AE0124C2F97}" dt="2023-01-14T12:50:38.631" v="2288" actId="255"/>
          <ac:spMkLst>
            <pc:docMk/>
            <pc:sldMk cId="2846901679" sldId="256"/>
            <ac:spMk id="7" creationId="{B1E0ABEC-554C-720A-2772-F0324C8E93CA}"/>
          </ac:spMkLst>
        </pc:spChg>
        <pc:cxnChg chg="mod">
          <ac:chgData name="Roberto Gallardo" userId="49a044883f185952" providerId="LiveId" clId="{25BE2D22-C10C-457D-82F3-1AE0124C2F97}" dt="2023-01-09T23:48:30.516" v="114" actId="1076"/>
          <ac:cxnSpMkLst>
            <pc:docMk/>
            <pc:sldMk cId="2846901679" sldId="256"/>
            <ac:cxnSpMk id="10" creationId="{13EFA7DF-2E74-6B37-435B-B8B810175C14}"/>
          </ac:cxnSpMkLst>
        </pc:cxnChg>
      </pc:sldChg>
      <pc:sldChg chg="delSp modSp mod">
        <pc:chgData name="Roberto Gallardo" userId="49a044883f185952" providerId="LiveId" clId="{25BE2D22-C10C-457D-82F3-1AE0124C2F97}" dt="2023-01-14T14:23:03.365" v="2293" actId="478"/>
        <pc:sldMkLst>
          <pc:docMk/>
          <pc:sldMk cId="3231157596" sldId="257"/>
        </pc:sldMkLst>
        <pc:spChg chg="mod">
          <ac:chgData name="Roberto Gallardo" userId="49a044883f185952" providerId="LiveId" clId="{25BE2D22-C10C-457D-82F3-1AE0124C2F97}" dt="2023-01-09T23:34:23.014" v="73" actId="20577"/>
          <ac:spMkLst>
            <pc:docMk/>
            <pc:sldMk cId="3231157596" sldId="257"/>
            <ac:spMk id="8" creationId="{40AF43CC-DD34-B66D-2100-C70E6AB3ED53}"/>
          </ac:spMkLst>
        </pc:spChg>
        <pc:picChg chg="del ord">
          <ac:chgData name="Roberto Gallardo" userId="49a044883f185952" providerId="LiveId" clId="{25BE2D22-C10C-457D-82F3-1AE0124C2F97}" dt="2023-01-14T14:23:03.365" v="2293" actId="478"/>
          <ac:picMkLst>
            <pc:docMk/>
            <pc:sldMk cId="3231157596" sldId="257"/>
            <ac:picMk id="9" creationId="{4C80B7C1-B3BA-2E43-C7BF-799C557FB131}"/>
          </ac:picMkLst>
        </pc:picChg>
      </pc:sldChg>
      <pc:sldChg chg="delSp modSp mod">
        <pc:chgData name="Roberto Gallardo" userId="49a044883f185952" providerId="LiveId" clId="{25BE2D22-C10C-457D-82F3-1AE0124C2F97}" dt="2023-01-14T14:22:57.933" v="2291" actId="478"/>
        <pc:sldMkLst>
          <pc:docMk/>
          <pc:sldMk cId="3702837515" sldId="258"/>
        </pc:sldMkLst>
        <pc:spChg chg="mod">
          <ac:chgData name="Roberto Gallardo" userId="49a044883f185952" providerId="LiveId" clId="{25BE2D22-C10C-457D-82F3-1AE0124C2F97}" dt="2023-01-09T23:34:30.617" v="77" actId="20577"/>
          <ac:spMkLst>
            <pc:docMk/>
            <pc:sldMk cId="3702837515" sldId="258"/>
            <ac:spMk id="8" creationId="{40AF43CC-DD34-B66D-2100-C70E6AB3ED53}"/>
          </ac:spMkLst>
        </pc:spChg>
        <pc:picChg chg="del ord">
          <ac:chgData name="Roberto Gallardo" userId="49a044883f185952" providerId="LiveId" clId="{25BE2D22-C10C-457D-82F3-1AE0124C2F97}" dt="2023-01-14T14:22:57.933" v="2291" actId="478"/>
          <ac:picMkLst>
            <pc:docMk/>
            <pc:sldMk cId="3702837515" sldId="258"/>
            <ac:picMk id="7" creationId="{3635A42C-C9F1-DAA3-7FE7-1EB8257A0E2E}"/>
          </ac:picMkLst>
        </pc:picChg>
      </pc:sldChg>
      <pc:sldChg chg="delSp modSp mod">
        <pc:chgData name="Roberto Gallardo" userId="49a044883f185952" providerId="LiveId" clId="{25BE2D22-C10C-457D-82F3-1AE0124C2F97}" dt="2023-01-14T14:23:01.181" v="2292" actId="478"/>
        <pc:sldMkLst>
          <pc:docMk/>
          <pc:sldMk cId="2519083202" sldId="259"/>
        </pc:sldMkLst>
        <pc:spChg chg="mod">
          <ac:chgData name="Roberto Gallardo" userId="49a044883f185952" providerId="LiveId" clId="{25BE2D22-C10C-457D-82F3-1AE0124C2F97}" dt="2023-01-09T23:34:27.118" v="75" actId="20577"/>
          <ac:spMkLst>
            <pc:docMk/>
            <pc:sldMk cId="2519083202" sldId="259"/>
            <ac:spMk id="8" creationId="{40AF43CC-DD34-B66D-2100-C70E6AB3ED53}"/>
          </ac:spMkLst>
        </pc:spChg>
        <pc:picChg chg="del ord">
          <ac:chgData name="Roberto Gallardo" userId="49a044883f185952" providerId="LiveId" clId="{25BE2D22-C10C-457D-82F3-1AE0124C2F97}" dt="2023-01-14T14:23:01.181" v="2292" actId="478"/>
          <ac:picMkLst>
            <pc:docMk/>
            <pc:sldMk cId="2519083202" sldId="259"/>
            <ac:picMk id="7" creationId="{67FD3867-05D1-0561-5CAF-29C1272358C1}"/>
          </ac:picMkLst>
        </pc:picChg>
      </pc:sldChg>
      <pc:sldChg chg="delSp modSp mod">
        <pc:chgData name="Roberto Gallardo" userId="49a044883f185952" providerId="LiveId" clId="{25BE2D22-C10C-457D-82F3-1AE0124C2F97}" dt="2023-01-14T14:22:55.473" v="2290" actId="478"/>
        <pc:sldMkLst>
          <pc:docMk/>
          <pc:sldMk cId="3877078759" sldId="260"/>
        </pc:sldMkLst>
        <pc:spChg chg="mod">
          <ac:chgData name="Roberto Gallardo" userId="49a044883f185952" providerId="LiveId" clId="{25BE2D22-C10C-457D-82F3-1AE0124C2F97}" dt="2023-01-09T23:25:34.553" v="38" actId="20577"/>
          <ac:spMkLst>
            <pc:docMk/>
            <pc:sldMk cId="3877078759" sldId="260"/>
            <ac:spMk id="2" creationId="{C03B1400-5F72-D252-1DBE-EDCD6E63B07C}"/>
          </ac:spMkLst>
        </pc:spChg>
        <pc:picChg chg="del">
          <ac:chgData name="Roberto Gallardo" userId="49a044883f185952" providerId="LiveId" clId="{25BE2D22-C10C-457D-82F3-1AE0124C2F97}" dt="2023-01-14T14:22:55.473" v="2290" actId="478"/>
          <ac:picMkLst>
            <pc:docMk/>
            <pc:sldMk cId="3877078759" sldId="260"/>
            <ac:picMk id="6" creationId="{7454CA65-C29D-E836-52C1-21A108BA680B}"/>
          </ac:picMkLst>
        </pc:picChg>
      </pc:sldChg>
      <pc:sldChg chg="delSp modSp mod">
        <pc:chgData name="Roberto Gallardo" userId="49a044883f185952" providerId="LiveId" clId="{25BE2D22-C10C-457D-82F3-1AE0124C2F97}" dt="2023-01-14T14:23:07.821" v="2295" actId="478"/>
        <pc:sldMkLst>
          <pc:docMk/>
          <pc:sldMk cId="1175010214" sldId="261"/>
        </pc:sldMkLst>
        <pc:spChg chg="mod">
          <ac:chgData name="Roberto Gallardo" userId="49a044883f185952" providerId="LiveId" clId="{25BE2D22-C10C-457D-82F3-1AE0124C2F97}" dt="2023-01-09T23:46:19.915" v="107" actId="20577"/>
          <ac:spMkLst>
            <pc:docMk/>
            <pc:sldMk cId="1175010214" sldId="261"/>
            <ac:spMk id="2" creationId="{C03B1400-5F72-D252-1DBE-EDCD6E63B07C}"/>
          </ac:spMkLst>
        </pc:spChg>
        <pc:spChg chg="mod">
          <ac:chgData name="Roberto Gallardo" userId="49a044883f185952" providerId="LiveId" clId="{25BE2D22-C10C-457D-82F3-1AE0124C2F97}" dt="2023-01-09T23:40:39.389" v="92" actId="20577"/>
          <ac:spMkLst>
            <pc:docMk/>
            <pc:sldMk cId="1175010214" sldId="261"/>
            <ac:spMk id="8" creationId="{40AF43CC-DD34-B66D-2100-C70E6AB3ED53}"/>
          </ac:spMkLst>
        </pc:spChg>
        <pc:picChg chg="del ord">
          <ac:chgData name="Roberto Gallardo" userId="49a044883f185952" providerId="LiveId" clId="{25BE2D22-C10C-457D-82F3-1AE0124C2F97}" dt="2023-01-14T14:23:07.821" v="2295" actId="478"/>
          <ac:picMkLst>
            <pc:docMk/>
            <pc:sldMk cId="1175010214" sldId="261"/>
            <ac:picMk id="7" creationId="{A7EE6CAD-9CCE-2BE9-847E-C3EEA2C6DFDF}"/>
          </ac:picMkLst>
        </pc:picChg>
      </pc:sldChg>
      <pc:sldChg chg="modSp del mod">
        <pc:chgData name="Roberto Gallardo" userId="49a044883f185952" providerId="LiveId" clId="{25BE2D22-C10C-457D-82F3-1AE0124C2F97}" dt="2023-01-11T22:36:58.987" v="625" actId="47"/>
        <pc:sldMkLst>
          <pc:docMk/>
          <pc:sldMk cId="3490389620" sldId="262"/>
        </pc:sldMkLst>
        <pc:spChg chg="mod">
          <ac:chgData name="Roberto Gallardo" userId="49a044883f185952" providerId="LiveId" clId="{25BE2D22-C10C-457D-82F3-1AE0124C2F97}" dt="2023-01-11T22:31:30.539" v="591" actId="20577"/>
          <ac:spMkLst>
            <pc:docMk/>
            <pc:sldMk cId="3490389620" sldId="262"/>
            <ac:spMk id="8" creationId="{40AF43CC-DD34-B66D-2100-C70E6AB3ED53}"/>
          </ac:spMkLst>
        </pc:spChg>
        <pc:picChg chg="ord">
          <ac:chgData name="Roberto Gallardo" userId="49a044883f185952" providerId="LiveId" clId="{25BE2D22-C10C-457D-82F3-1AE0124C2F97}" dt="2023-01-10T00:16:15.998" v="362" actId="167"/>
          <ac:picMkLst>
            <pc:docMk/>
            <pc:sldMk cId="3490389620" sldId="262"/>
            <ac:picMk id="9" creationId="{40A36035-9B52-D1D4-A560-EC18D0BAF6E7}"/>
          </ac:picMkLst>
        </pc:picChg>
      </pc:sldChg>
      <pc:sldChg chg="del">
        <pc:chgData name="Roberto Gallardo" userId="49a044883f185952" providerId="LiveId" clId="{25BE2D22-C10C-457D-82F3-1AE0124C2F97}" dt="2023-01-11T22:41:00.154" v="649" actId="47"/>
        <pc:sldMkLst>
          <pc:docMk/>
          <pc:sldMk cId="77472702" sldId="263"/>
        </pc:sldMkLst>
      </pc:sldChg>
      <pc:sldChg chg="del">
        <pc:chgData name="Roberto Gallardo" userId="49a044883f185952" providerId="LiveId" clId="{25BE2D22-C10C-457D-82F3-1AE0124C2F97}" dt="2023-01-11T22:42:24.347" v="763" actId="47"/>
        <pc:sldMkLst>
          <pc:docMk/>
          <pc:sldMk cId="1409358877" sldId="264"/>
        </pc:sldMkLst>
      </pc:sldChg>
      <pc:sldChg chg="modSp del mod">
        <pc:chgData name="Roberto Gallardo" userId="49a044883f185952" providerId="LiveId" clId="{25BE2D22-C10C-457D-82F3-1AE0124C2F97}" dt="2023-01-11T22:45:01.449" v="809" actId="47"/>
        <pc:sldMkLst>
          <pc:docMk/>
          <pc:sldMk cId="2546441270" sldId="265"/>
        </pc:sldMkLst>
        <pc:spChg chg="mod">
          <ac:chgData name="Roberto Gallardo" userId="49a044883f185952" providerId="LiveId" clId="{25BE2D22-C10C-457D-82F3-1AE0124C2F97}" dt="2023-01-10T00:16:09.105" v="361" actId="14100"/>
          <ac:spMkLst>
            <pc:docMk/>
            <pc:sldMk cId="2546441270" sldId="265"/>
            <ac:spMk id="2" creationId="{C03B1400-5F72-D252-1DBE-EDCD6E63B07C}"/>
          </ac:spMkLst>
        </pc:spChg>
        <pc:picChg chg="ord">
          <ac:chgData name="Roberto Gallardo" userId="49a044883f185952" providerId="LiveId" clId="{25BE2D22-C10C-457D-82F3-1AE0124C2F97}" dt="2023-01-10T00:15:43.899" v="332" actId="167"/>
          <ac:picMkLst>
            <pc:docMk/>
            <pc:sldMk cId="2546441270" sldId="265"/>
            <ac:picMk id="9" creationId="{47CC0AA5-019F-7850-820E-5AEDCC3CAAD7}"/>
          </ac:picMkLst>
        </pc:picChg>
      </pc:sldChg>
      <pc:sldChg chg="del">
        <pc:chgData name="Roberto Gallardo" userId="49a044883f185952" providerId="LiveId" clId="{25BE2D22-C10C-457D-82F3-1AE0124C2F97}" dt="2023-01-11T22:45:38.028" v="848" actId="47"/>
        <pc:sldMkLst>
          <pc:docMk/>
          <pc:sldMk cId="3919704792" sldId="266"/>
        </pc:sldMkLst>
      </pc:sldChg>
      <pc:sldChg chg="del">
        <pc:chgData name="Roberto Gallardo" userId="49a044883f185952" providerId="LiveId" clId="{25BE2D22-C10C-457D-82F3-1AE0124C2F97}" dt="2023-01-11T22:46:45.097" v="929" actId="47"/>
        <pc:sldMkLst>
          <pc:docMk/>
          <pc:sldMk cId="4158874625" sldId="267"/>
        </pc:sldMkLst>
      </pc:sldChg>
      <pc:sldChg chg="del">
        <pc:chgData name="Roberto Gallardo" userId="49a044883f185952" providerId="LiveId" clId="{25BE2D22-C10C-457D-82F3-1AE0124C2F97}" dt="2023-01-11T22:47:18.989" v="978" actId="47"/>
        <pc:sldMkLst>
          <pc:docMk/>
          <pc:sldMk cId="2670791091" sldId="268"/>
        </pc:sldMkLst>
      </pc:sldChg>
      <pc:sldChg chg="del">
        <pc:chgData name="Roberto Gallardo" userId="49a044883f185952" providerId="LiveId" clId="{25BE2D22-C10C-457D-82F3-1AE0124C2F97}" dt="2023-01-11T22:56:38.855" v="1009" actId="47"/>
        <pc:sldMkLst>
          <pc:docMk/>
          <pc:sldMk cId="3618545072" sldId="269"/>
        </pc:sldMkLst>
      </pc:sldChg>
      <pc:sldChg chg="del">
        <pc:chgData name="Roberto Gallardo" userId="49a044883f185952" providerId="LiveId" clId="{25BE2D22-C10C-457D-82F3-1AE0124C2F97}" dt="2023-01-11T22:56:40.918" v="1010" actId="47"/>
        <pc:sldMkLst>
          <pc:docMk/>
          <pc:sldMk cId="436430764" sldId="270"/>
        </pc:sldMkLst>
      </pc:sldChg>
      <pc:sldChg chg="addSp delSp modSp mod">
        <pc:chgData name="Roberto Gallardo" userId="49a044883f185952" providerId="LiveId" clId="{25BE2D22-C10C-457D-82F3-1AE0124C2F97}" dt="2023-01-14T14:23:19.200" v="2296" actId="478"/>
        <pc:sldMkLst>
          <pc:docMk/>
          <pc:sldMk cId="1418533539" sldId="271"/>
        </pc:sldMkLst>
        <pc:spChg chg="mod">
          <ac:chgData name="Roberto Gallardo" userId="49a044883f185952" providerId="LiveId" clId="{25BE2D22-C10C-457D-82F3-1AE0124C2F97}" dt="2023-01-13T02:22:47.215" v="1659" actId="122"/>
          <ac:spMkLst>
            <pc:docMk/>
            <pc:sldMk cId="1418533539" sldId="271"/>
            <ac:spMk id="2" creationId="{C03B1400-5F72-D252-1DBE-EDCD6E63B07C}"/>
          </ac:spMkLst>
        </pc:spChg>
        <pc:spChg chg="add mod">
          <ac:chgData name="Roberto Gallardo" userId="49a044883f185952" providerId="LiveId" clId="{25BE2D22-C10C-457D-82F3-1AE0124C2F97}" dt="2023-01-13T02:25:04.952" v="1698" actId="1076"/>
          <ac:spMkLst>
            <pc:docMk/>
            <pc:sldMk cId="1418533539" sldId="271"/>
            <ac:spMk id="3" creationId="{AF651823-818E-912D-E331-CDEB914505A8}"/>
          </ac:spMkLst>
        </pc:spChg>
        <pc:spChg chg="del mod">
          <ac:chgData name="Roberto Gallardo" userId="49a044883f185952" providerId="LiveId" clId="{25BE2D22-C10C-457D-82F3-1AE0124C2F97}" dt="2023-01-11T22:32:35.186" v="600" actId="478"/>
          <ac:spMkLst>
            <pc:docMk/>
            <pc:sldMk cId="1418533539" sldId="271"/>
            <ac:spMk id="8" creationId="{40AF43CC-DD34-B66D-2100-C70E6AB3ED53}"/>
          </ac:spMkLst>
        </pc:spChg>
        <pc:graphicFrameChg chg="add del mod">
          <ac:chgData name="Roberto Gallardo" userId="49a044883f185952" providerId="LiveId" clId="{25BE2D22-C10C-457D-82F3-1AE0124C2F97}" dt="2023-01-13T02:21:01.017" v="1645" actId="478"/>
          <ac:graphicFrameMkLst>
            <pc:docMk/>
            <pc:sldMk cId="1418533539" sldId="271"/>
            <ac:graphicFrameMk id="6" creationId="{CE45C3AF-C253-DC6A-54C2-FE3F8F710345}"/>
          </ac:graphicFrameMkLst>
        </pc:graphicFrameChg>
        <pc:graphicFrameChg chg="add del mod">
          <ac:chgData name="Roberto Gallardo" userId="49a044883f185952" providerId="LiveId" clId="{25BE2D22-C10C-457D-82F3-1AE0124C2F97}" dt="2023-01-10T00:23:25.192" v="479" actId="478"/>
          <ac:graphicFrameMkLst>
            <pc:docMk/>
            <pc:sldMk cId="1418533539" sldId="271"/>
            <ac:graphicFrameMk id="12" creationId="{DABF0741-AD27-F6EC-F006-1930AC38E762}"/>
          </ac:graphicFrameMkLst>
        </pc:graphicFrameChg>
        <pc:picChg chg="add del mod">
          <ac:chgData name="Roberto Gallardo" userId="49a044883f185952" providerId="LiveId" clId="{25BE2D22-C10C-457D-82F3-1AE0124C2F97}" dt="2023-01-13T00:36:42.253" v="1503" actId="478"/>
          <ac:picMkLst>
            <pc:docMk/>
            <pc:sldMk cId="1418533539" sldId="271"/>
            <ac:picMk id="7" creationId="{612696AC-75A4-8645-153D-6EE56FC1207A}"/>
          </ac:picMkLst>
        </pc:picChg>
        <pc:picChg chg="add del mod">
          <ac:chgData name="Roberto Gallardo" userId="49a044883f185952" providerId="LiveId" clId="{25BE2D22-C10C-457D-82F3-1AE0124C2F97}" dt="2023-01-13T02:21:03.920" v="1646" actId="478"/>
          <ac:picMkLst>
            <pc:docMk/>
            <pc:sldMk cId="1418533539" sldId="271"/>
            <ac:picMk id="8" creationId="{EBF08018-13C5-6C09-EDA1-F15EE5AE8D0D}"/>
          </ac:picMkLst>
        </pc:picChg>
        <pc:picChg chg="add del mod">
          <ac:chgData name="Roberto Gallardo" userId="49a044883f185952" providerId="LiveId" clId="{25BE2D22-C10C-457D-82F3-1AE0124C2F97}" dt="2023-01-11T22:36:17.588" v="616" actId="478"/>
          <ac:picMkLst>
            <pc:docMk/>
            <pc:sldMk cId="1418533539" sldId="271"/>
            <ac:picMk id="9" creationId="{03E7E678-7ACC-337D-5E39-82A936AE17EF}"/>
          </ac:picMkLst>
        </pc:picChg>
        <pc:picChg chg="add mod">
          <ac:chgData name="Roberto Gallardo" userId="49a044883f185952" providerId="LiveId" clId="{25BE2D22-C10C-457D-82F3-1AE0124C2F97}" dt="2023-01-13T02:22:28.780" v="1653" actId="1076"/>
          <ac:picMkLst>
            <pc:docMk/>
            <pc:sldMk cId="1418533539" sldId="271"/>
            <ac:picMk id="10" creationId="{1B762686-DC65-9B90-CF68-660E6B2284BC}"/>
          </ac:picMkLst>
        </pc:picChg>
        <pc:picChg chg="add del">
          <ac:chgData name="Roberto Gallardo" userId="49a044883f185952" providerId="LiveId" clId="{25BE2D22-C10C-457D-82F3-1AE0124C2F97}" dt="2023-01-10T00:08:52.675" v="284" actId="478"/>
          <ac:picMkLst>
            <pc:docMk/>
            <pc:sldMk cId="1418533539" sldId="271"/>
            <ac:picMk id="11" creationId="{AEFDEB6D-F3A3-1572-E046-90ABC9E2817B}"/>
          </ac:picMkLst>
        </pc:picChg>
        <pc:picChg chg="del ord">
          <ac:chgData name="Roberto Gallardo" userId="49a044883f185952" providerId="LiveId" clId="{25BE2D22-C10C-457D-82F3-1AE0124C2F97}" dt="2023-01-14T14:23:19.200" v="2296" actId="478"/>
          <ac:picMkLst>
            <pc:docMk/>
            <pc:sldMk cId="1418533539" sldId="271"/>
            <ac:picMk id="13" creationId="{4F7357C3-AA47-A578-E18E-C38D0920BC2B}"/>
          </ac:picMkLst>
        </pc:picChg>
      </pc:sldChg>
      <pc:sldChg chg="delSp modSp mod">
        <pc:chgData name="Roberto Gallardo" userId="49a044883f185952" providerId="LiveId" clId="{25BE2D22-C10C-457D-82F3-1AE0124C2F97}" dt="2023-01-14T14:23:05.408" v="2294" actId="478"/>
        <pc:sldMkLst>
          <pc:docMk/>
          <pc:sldMk cId="2653937722" sldId="272"/>
        </pc:sldMkLst>
        <pc:spChg chg="mod">
          <ac:chgData name="Roberto Gallardo" userId="49a044883f185952" providerId="LiveId" clId="{25BE2D22-C10C-457D-82F3-1AE0124C2F97}" dt="2023-01-09T23:34:56.097" v="82" actId="20577"/>
          <ac:spMkLst>
            <pc:docMk/>
            <pc:sldMk cId="2653937722" sldId="272"/>
            <ac:spMk id="8" creationId="{40AF43CC-DD34-B66D-2100-C70E6AB3ED53}"/>
          </ac:spMkLst>
        </pc:spChg>
        <pc:picChg chg="del ord">
          <ac:chgData name="Roberto Gallardo" userId="49a044883f185952" providerId="LiveId" clId="{25BE2D22-C10C-457D-82F3-1AE0124C2F97}" dt="2023-01-14T14:23:05.408" v="2294" actId="478"/>
          <ac:picMkLst>
            <pc:docMk/>
            <pc:sldMk cId="2653937722" sldId="272"/>
            <ac:picMk id="7" creationId="{47B0A1AD-C83F-A2F8-D8C7-ED6D53AA4B2F}"/>
          </ac:picMkLst>
        </pc:picChg>
      </pc:sldChg>
      <pc:sldChg chg="delSp modSp mod">
        <pc:chgData name="Roberto Gallardo" userId="49a044883f185952" providerId="LiveId" clId="{25BE2D22-C10C-457D-82F3-1AE0124C2F97}" dt="2023-01-14T14:25:19.215" v="2321" actId="478"/>
        <pc:sldMkLst>
          <pc:docMk/>
          <pc:sldMk cId="2076698419" sldId="273"/>
        </pc:sldMkLst>
        <pc:picChg chg="del ord">
          <ac:chgData name="Roberto Gallardo" userId="49a044883f185952" providerId="LiveId" clId="{25BE2D22-C10C-457D-82F3-1AE0124C2F97}" dt="2023-01-14T14:25:19.215" v="2321" actId="478"/>
          <ac:picMkLst>
            <pc:docMk/>
            <pc:sldMk cId="2076698419" sldId="273"/>
            <ac:picMk id="9" creationId="{FFA57C8B-4C3E-6D4F-82A8-EE27683795FD}"/>
          </ac:picMkLst>
        </pc:picChg>
      </pc:sldChg>
      <pc:sldChg chg="delSp modSp mod">
        <pc:chgData name="Roberto Gallardo" userId="49a044883f185952" providerId="LiveId" clId="{25BE2D22-C10C-457D-82F3-1AE0124C2F97}" dt="2023-01-14T14:25:26.106" v="2323" actId="478"/>
        <pc:sldMkLst>
          <pc:docMk/>
          <pc:sldMk cId="3802335161" sldId="274"/>
        </pc:sldMkLst>
        <pc:spChg chg="mod">
          <ac:chgData name="Roberto Gallardo" userId="49a044883f185952" providerId="LiveId" clId="{25BE2D22-C10C-457D-82F3-1AE0124C2F97}" dt="2023-01-09T23:59:49.464" v="236" actId="1076"/>
          <ac:spMkLst>
            <pc:docMk/>
            <pc:sldMk cId="3802335161" sldId="274"/>
            <ac:spMk id="7" creationId="{06088BFF-E008-7036-06DC-C79AACE6A6EF}"/>
          </ac:spMkLst>
        </pc:spChg>
        <pc:spChg chg="mod">
          <ac:chgData name="Roberto Gallardo" userId="49a044883f185952" providerId="LiveId" clId="{25BE2D22-C10C-457D-82F3-1AE0124C2F97}" dt="2023-01-09T23:59:45.624" v="235" actId="1076"/>
          <ac:spMkLst>
            <pc:docMk/>
            <pc:sldMk cId="3802335161" sldId="274"/>
            <ac:spMk id="8" creationId="{40AF43CC-DD34-B66D-2100-C70E6AB3ED53}"/>
          </ac:spMkLst>
        </pc:spChg>
        <pc:picChg chg="del ord">
          <ac:chgData name="Roberto Gallardo" userId="49a044883f185952" providerId="LiveId" clId="{25BE2D22-C10C-457D-82F3-1AE0124C2F97}" dt="2023-01-14T14:25:26.106" v="2323" actId="478"/>
          <ac:picMkLst>
            <pc:docMk/>
            <pc:sldMk cId="3802335161" sldId="274"/>
            <ac:picMk id="11" creationId="{20764531-2D44-8514-A242-BA2A93780D69}"/>
          </ac:picMkLst>
        </pc:picChg>
      </pc:sldChg>
      <pc:sldChg chg="delSp modSp mod">
        <pc:chgData name="Roberto Gallardo" userId="49a044883f185952" providerId="LiveId" clId="{25BE2D22-C10C-457D-82F3-1AE0124C2F97}" dt="2023-01-14T14:25:28.668" v="2324" actId="478"/>
        <pc:sldMkLst>
          <pc:docMk/>
          <pc:sldMk cId="4292554322" sldId="275"/>
        </pc:sldMkLst>
        <pc:spChg chg="mod">
          <ac:chgData name="Roberto Gallardo" userId="49a044883f185952" providerId="LiveId" clId="{25BE2D22-C10C-457D-82F3-1AE0124C2F97}" dt="2023-01-10T00:08:19.825" v="283" actId="20577"/>
          <ac:spMkLst>
            <pc:docMk/>
            <pc:sldMk cId="4292554322" sldId="275"/>
            <ac:spMk id="8" creationId="{40AF43CC-DD34-B66D-2100-C70E6AB3ED53}"/>
          </ac:spMkLst>
        </pc:spChg>
        <pc:picChg chg="del ord">
          <ac:chgData name="Roberto Gallardo" userId="49a044883f185952" providerId="LiveId" clId="{25BE2D22-C10C-457D-82F3-1AE0124C2F97}" dt="2023-01-14T14:25:28.668" v="2324" actId="478"/>
          <ac:picMkLst>
            <pc:docMk/>
            <pc:sldMk cId="4292554322" sldId="275"/>
            <ac:picMk id="7" creationId="{D63D57C2-CBCB-D955-3A69-AFA7B03E637F}"/>
          </ac:picMkLst>
        </pc:picChg>
      </pc:sldChg>
      <pc:sldChg chg="delSp modSp mod">
        <pc:chgData name="Roberto Gallardo" userId="49a044883f185952" providerId="LiveId" clId="{25BE2D22-C10C-457D-82F3-1AE0124C2F97}" dt="2023-01-14T14:25:21.892" v="2322" actId="478"/>
        <pc:sldMkLst>
          <pc:docMk/>
          <pc:sldMk cId="513409896" sldId="276"/>
        </pc:sldMkLst>
        <pc:spChg chg="mod">
          <ac:chgData name="Roberto Gallardo" userId="49a044883f185952" providerId="LiveId" clId="{25BE2D22-C10C-457D-82F3-1AE0124C2F97}" dt="2023-01-09T23:52:38.282" v="129" actId="20577"/>
          <ac:spMkLst>
            <pc:docMk/>
            <pc:sldMk cId="513409896" sldId="276"/>
            <ac:spMk id="2" creationId="{C03B1400-5F72-D252-1DBE-EDCD6E63B07C}"/>
          </ac:spMkLst>
        </pc:spChg>
        <pc:spChg chg="mod">
          <ac:chgData name="Roberto Gallardo" userId="49a044883f185952" providerId="LiveId" clId="{25BE2D22-C10C-457D-82F3-1AE0124C2F97}" dt="2023-01-09T23:55:59.892" v="141" actId="1076"/>
          <ac:spMkLst>
            <pc:docMk/>
            <pc:sldMk cId="513409896" sldId="276"/>
            <ac:spMk id="9" creationId="{EB4CC4F6-2F6B-8AF9-8151-CB2C0FF4BAC4}"/>
          </ac:spMkLst>
        </pc:spChg>
        <pc:spChg chg="mod">
          <ac:chgData name="Roberto Gallardo" userId="49a044883f185952" providerId="LiveId" clId="{25BE2D22-C10C-457D-82F3-1AE0124C2F97}" dt="2023-01-09T23:57:39.847" v="171" actId="1037"/>
          <ac:spMkLst>
            <pc:docMk/>
            <pc:sldMk cId="513409896" sldId="276"/>
            <ac:spMk id="16" creationId="{420A225E-A640-906C-A470-552759842A43}"/>
          </ac:spMkLst>
        </pc:spChg>
        <pc:spChg chg="mod">
          <ac:chgData name="Roberto Gallardo" userId="49a044883f185952" providerId="LiveId" clId="{25BE2D22-C10C-457D-82F3-1AE0124C2F97}" dt="2023-01-09T23:58:38.609" v="187" actId="1038"/>
          <ac:spMkLst>
            <pc:docMk/>
            <pc:sldMk cId="513409896" sldId="276"/>
            <ac:spMk id="21" creationId="{9A68ADBE-AECC-EE60-7E94-3675B33E08AE}"/>
          </ac:spMkLst>
        </pc:spChg>
        <pc:picChg chg="del ord">
          <ac:chgData name="Roberto Gallardo" userId="49a044883f185952" providerId="LiveId" clId="{25BE2D22-C10C-457D-82F3-1AE0124C2F97}" dt="2023-01-14T14:25:21.892" v="2322" actId="478"/>
          <ac:picMkLst>
            <pc:docMk/>
            <pc:sldMk cId="513409896" sldId="276"/>
            <ac:picMk id="28" creationId="{7ABD12D9-88D7-6FDA-AEAC-080C6614109E}"/>
          </ac:picMkLst>
        </pc:picChg>
        <pc:cxnChg chg="mod">
          <ac:chgData name="Roberto Gallardo" userId="49a044883f185952" providerId="LiveId" clId="{25BE2D22-C10C-457D-82F3-1AE0124C2F97}" dt="2023-01-09T23:55:39.172" v="135" actId="1076"/>
          <ac:cxnSpMkLst>
            <pc:docMk/>
            <pc:sldMk cId="513409896" sldId="276"/>
            <ac:cxnSpMk id="12" creationId="{CFFB1630-BD90-A400-670C-BA42A969CC53}"/>
          </ac:cxnSpMkLst>
        </pc:cxnChg>
        <pc:cxnChg chg="mod">
          <ac:chgData name="Roberto Gallardo" userId="49a044883f185952" providerId="LiveId" clId="{25BE2D22-C10C-457D-82F3-1AE0124C2F97}" dt="2023-01-09T23:56:07.141" v="143" actId="1076"/>
          <ac:cxnSpMkLst>
            <pc:docMk/>
            <pc:sldMk cId="513409896" sldId="276"/>
            <ac:cxnSpMk id="13" creationId="{1D0B6E64-E4A0-FEB0-ABC4-B26C8EF7542E}"/>
          </ac:cxnSpMkLst>
        </pc:cxnChg>
        <pc:cxnChg chg="mod">
          <ac:chgData name="Roberto Gallardo" userId="49a044883f185952" providerId="LiveId" clId="{25BE2D22-C10C-457D-82F3-1AE0124C2F97}" dt="2023-01-09T23:56:03.557" v="142" actId="14100"/>
          <ac:cxnSpMkLst>
            <pc:docMk/>
            <pc:sldMk cId="513409896" sldId="276"/>
            <ac:cxnSpMk id="14" creationId="{15AB37BA-8065-3082-3040-FB8974BC0126}"/>
          </ac:cxnSpMkLst>
        </pc:cxnChg>
        <pc:cxnChg chg="mod">
          <ac:chgData name="Roberto Gallardo" userId="49a044883f185952" providerId="LiveId" clId="{25BE2D22-C10C-457D-82F3-1AE0124C2F97}" dt="2023-01-09T23:55:56.230" v="140" actId="14100"/>
          <ac:cxnSpMkLst>
            <pc:docMk/>
            <pc:sldMk cId="513409896" sldId="276"/>
            <ac:cxnSpMk id="15" creationId="{BCCCC111-CA7C-CAB0-EAC5-333D5A26296D}"/>
          </ac:cxnSpMkLst>
        </pc:cxnChg>
        <pc:cxnChg chg="mod">
          <ac:chgData name="Roberto Gallardo" userId="49a044883f185952" providerId="LiveId" clId="{25BE2D22-C10C-457D-82F3-1AE0124C2F97}" dt="2023-01-09T23:57:39.847" v="171" actId="1037"/>
          <ac:cxnSpMkLst>
            <pc:docMk/>
            <pc:sldMk cId="513409896" sldId="276"/>
            <ac:cxnSpMk id="17" creationId="{26BD209E-6819-82CB-9B59-E03611EAC1FC}"/>
          </ac:cxnSpMkLst>
        </pc:cxnChg>
        <pc:cxnChg chg="mod">
          <ac:chgData name="Roberto Gallardo" userId="49a044883f185952" providerId="LiveId" clId="{25BE2D22-C10C-457D-82F3-1AE0124C2F97}" dt="2023-01-09T23:57:39.847" v="171" actId="1037"/>
          <ac:cxnSpMkLst>
            <pc:docMk/>
            <pc:sldMk cId="513409896" sldId="276"/>
            <ac:cxnSpMk id="18" creationId="{F8736966-F272-CC1E-CA8B-886785B2B5EB}"/>
          </ac:cxnSpMkLst>
        </pc:cxnChg>
        <pc:cxnChg chg="mod">
          <ac:chgData name="Roberto Gallardo" userId="49a044883f185952" providerId="LiveId" clId="{25BE2D22-C10C-457D-82F3-1AE0124C2F97}" dt="2023-01-09T23:57:39.847" v="171" actId="1037"/>
          <ac:cxnSpMkLst>
            <pc:docMk/>
            <pc:sldMk cId="513409896" sldId="276"/>
            <ac:cxnSpMk id="19" creationId="{310587E0-05D3-43D7-B764-184E1AB6C561}"/>
          </ac:cxnSpMkLst>
        </pc:cxnChg>
        <pc:cxnChg chg="mod">
          <ac:chgData name="Roberto Gallardo" userId="49a044883f185952" providerId="LiveId" clId="{25BE2D22-C10C-457D-82F3-1AE0124C2F97}" dt="2023-01-09T23:57:39.847" v="171" actId="1037"/>
          <ac:cxnSpMkLst>
            <pc:docMk/>
            <pc:sldMk cId="513409896" sldId="276"/>
            <ac:cxnSpMk id="20" creationId="{4FC1B3BE-8F7B-FCC3-C3CB-625A8A3E620F}"/>
          </ac:cxnSpMkLst>
        </pc:cxnChg>
        <pc:cxnChg chg="mod">
          <ac:chgData name="Roberto Gallardo" userId="49a044883f185952" providerId="LiveId" clId="{25BE2D22-C10C-457D-82F3-1AE0124C2F97}" dt="2023-01-09T23:58:01.222" v="174" actId="1038"/>
          <ac:cxnSpMkLst>
            <pc:docMk/>
            <pc:sldMk cId="513409896" sldId="276"/>
            <ac:cxnSpMk id="22" creationId="{1B423FA0-E4B3-6570-929B-A9283D503787}"/>
          </ac:cxnSpMkLst>
        </pc:cxnChg>
        <pc:cxnChg chg="mod">
          <ac:chgData name="Roberto Gallardo" userId="49a044883f185952" providerId="LiveId" clId="{25BE2D22-C10C-457D-82F3-1AE0124C2F97}" dt="2023-01-09T23:58:42.914" v="188" actId="1038"/>
          <ac:cxnSpMkLst>
            <pc:docMk/>
            <pc:sldMk cId="513409896" sldId="276"/>
            <ac:cxnSpMk id="23" creationId="{D616797E-0044-3804-BA5A-23B8EB309CA5}"/>
          </ac:cxnSpMkLst>
        </pc:cxnChg>
        <pc:cxnChg chg="mod">
          <ac:chgData name="Roberto Gallardo" userId="49a044883f185952" providerId="LiveId" clId="{25BE2D22-C10C-457D-82F3-1AE0124C2F97}" dt="2023-01-09T23:58:42.914" v="188" actId="1038"/>
          <ac:cxnSpMkLst>
            <pc:docMk/>
            <pc:sldMk cId="513409896" sldId="276"/>
            <ac:cxnSpMk id="24" creationId="{20A6256E-6780-BAE0-B803-D02FE024579F}"/>
          </ac:cxnSpMkLst>
        </pc:cxnChg>
        <pc:cxnChg chg="mod">
          <ac:chgData name="Roberto Gallardo" userId="49a044883f185952" providerId="LiveId" clId="{25BE2D22-C10C-457D-82F3-1AE0124C2F97}" dt="2023-01-09T23:58:06.540" v="175" actId="1076"/>
          <ac:cxnSpMkLst>
            <pc:docMk/>
            <pc:sldMk cId="513409896" sldId="276"/>
            <ac:cxnSpMk id="25" creationId="{62B7492E-2C75-E0CD-947E-C582F412F7D7}"/>
          </ac:cxnSpMkLst>
        </pc:cxnChg>
      </pc:sldChg>
      <pc:sldChg chg="delSp modSp mod">
        <pc:chgData name="Roberto Gallardo" userId="49a044883f185952" providerId="LiveId" clId="{25BE2D22-C10C-457D-82F3-1AE0124C2F97}" dt="2023-01-14T14:22:53.178" v="2289" actId="478"/>
        <pc:sldMkLst>
          <pc:docMk/>
          <pc:sldMk cId="543148149" sldId="277"/>
        </pc:sldMkLst>
        <pc:spChg chg="mod">
          <ac:chgData name="Roberto Gallardo" userId="49a044883f185952" providerId="LiveId" clId="{25BE2D22-C10C-457D-82F3-1AE0124C2F97}" dt="2023-01-13T02:59:23.255" v="2194" actId="20577"/>
          <ac:spMkLst>
            <pc:docMk/>
            <pc:sldMk cId="543148149" sldId="277"/>
            <ac:spMk id="5" creationId="{6AE302AC-8931-4144-BE52-DD1A8BA82462}"/>
          </ac:spMkLst>
        </pc:spChg>
        <pc:spChg chg="mod">
          <ac:chgData name="Roberto Gallardo" userId="49a044883f185952" providerId="LiveId" clId="{25BE2D22-C10C-457D-82F3-1AE0124C2F97}" dt="2023-01-13T02:59:03.039" v="2185" actId="27636"/>
          <ac:spMkLst>
            <pc:docMk/>
            <pc:sldMk cId="543148149" sldId="277"/>
            <ac:spMk id="9" creationId="{E362A98F-7DCD-C67C-23CE-1BE182A133B4}"/>
          </ac:spMkLst>
        </pc:spChg>
        <pc:picChg chg="del">
          <ac:chgData name="Roberto Gallardo" userId="49a044883f185952" providerId="LiveId" clId="{25BE2D22-C10C-457D-82F3-1AE0124C2F97}" dt="2023-01-14T14:22:53.178" v="2289" actId="478"/>
          <ac:picMkLst>
            <pc:docMk/>
            <pc:sldMk cId="543148149" sldId="277"/>
            <ac:picMk id="15" creationId="{B191D37B-F1CD-5A9C-06B8-E0E4181E0306}"/>
          </ac:picMkLst>
        </pc:picChg>
      </pc:sldChg>
      <pc:sldChg chg="delSp modSp mod">
        <pc:chgData name="Roberto Gallardo" userId="49a044883f185952" providerId="LiveId" clId="{25BE2D22-C10C-457D-82F3-1AE0124C2F97}" dt="2023-01-14T14:25:16.874" v="2320" actId="478"/>
        <pc:sldMkLst>
          <pc:docMk/>
          <pc:sldMk cId="349244952" sldId="278"/>
        </pc:sldMkLst>
        <pc:picChg chg="del ord">
          <ac:chgData name="Roberto Gallardo" userId="49a044883f185952" providerId="LiveId" clId="{25BE2D22-C10C-457D-82F3-1AE0124C2F97}" dt="2023-01-14T14:25:16.874" v="2320" actId="478"/>
          <ac:picMkLst>
            <pc:docMk/>
            <pc:sldMk cId="349244952" sldId="278"/>
            <ac:picMk id="11" creationId="{DB0A9B91-BDA9-CBFA-5C74-903665FB0440}"/>
          </ac:picMkLst>
        </pc:picChg>
      </pc:sldChg>
      <pc:sldChg chg="modSp add del mod">
        <pc:chgData name="Roberto Gallardo" userId="49a044883f185952" providerId="LiveId" clId="{25BE2D22-C10C-457D-82F3-1AE0124C2F97}" dt="2023-01-11T22:42:06.562" v="738" actId="47"/>
        <pc:sldMkLst>
          <pc:docMk/>
          <pc:sldMk cId="2146153811" sldId="279"/>
        </pc:sldMkLst>
        <pc:spChg chg="mod">
          <ac:chgData name="Roberto Gallardo" userId="49a044883f185952" providerId="LiveId" clId="{25BE2D22-C10C-457D-82F3-1AE0124C2F97}" dt="2023-01-10T00:15:21.074" v="330" actId="20577"/>
          <ac:spMkLst>
            <pc:docMk/>
            <pc:sldMk cId="2146153811" sldId="279"/>
            <ac:spMk id="2" creationId="{C03B1400-5F72-D252-1DBE-EDCD6E63B07C}"/>
          </ac:spMkLst>
        </pc:spChg>
        <pc:picChg chg="ord">
          <ac:chgData name="Roberto Gallardo" userId="49a044883f185952" providerId="LiveId" clId="{25BE2D22-C10C-457D-82F3-1AE0124C2F97}" dt="2023-01-10T00:14:57.209" v="286" actId="167"/>
          <ac:picMkLst>
            <pc:docMk/>
            <pc:sldMk cId="2146153811" sldId="279"/>
            <ac:picMk id="10" creationId="{E3CBDF83-C9E0-8DEA-6624-BCD9FB8AFD58}"/>
          </ac:picMkLst>
        </pc:picChg>
      </pc:sldChg>
      <pc:sldChg chg="add del">
        <pc:chgData name="Roberto Gallardo" userId="49a044883f185952" providerId="LiveId" clId="{25BE2D22-C10C-457D-82F3-1AE0124C2F97}" dt="2023-01-11T22:45:17.639" v="819" actId="47"/>
        <pc:sldMkLst>
          <pc:docMk/>
          <pc:sldMk cId="3281010316" sldId="280"/>
        </pc:sldMkLst>
      </pc:sldChg>
      <pc:sldChg chg="addSp delSp modSp add mod">
        <pc:chgData name="Roberto Gallardo" userId="49a044883f185952" providerId="LiveId" clId="{25BE2D22-C10C-457D-82F3-1AE0124C2F97}" dt="2023-01-14T14:23:58.117" v="2302" actId="478"/>
        <pc:sldMkLst>
          <pc:docMk/>
          <pc:sldMk cId="2124848710" sldId="281"/>
        </pc:sldMkLst>
        <pc:spChg chg="mod">
          <ac:chgData name="Roberto Gallardo" userId="49a044883f185952" providerId="LiveId" clId="{25BE2D22-C10C-457D-82F3-1AE0124C2F97}" dt="2023-01-11T22:44:18.310" v="806" actId="20577"/>
          <ac:spMkLst>
            <pc:docMk/>
            <pc:sldMk cId="2124848710" sldId="281"/>
            <ac:spMk id="2" creationId="{C03B1400-5F72-D252-1DBE-EDCD6E63B07C}"/>
          </ac:spMkLst>
        </pc:spChg>
        <pc:spChg chg="add mod">
          <ac:chgData name="Roberto Gallardo" userId="49a044883f185952" providerId="LiveId" clId="{25BE2D22-C10C-457D-82F3-1AE0124C2F97}" dt="2023-01-11T22:32:27.568" v="598"/>
          <ac:spMkLst>
            <pc:docMk/>
            <pc:sldMk cId="2124848710" sldId="281"/>
            <ac:spMk id="7" creationId="{51811D46-3545-CBB8-9C35-BAFF095496AA}"/>
          </ac:spMkLst>
        </pc:spChg>
        <pc:spChg chg="del">
          <ac:chgData name="Roberto Gallardo" userId="49a044883f185952" providerId="LiveId" clId="{25BE2D22-C10C-457D-82F3-1AE0124C2F97}" dt="2023-01-11T22:32:27.185" v="597" actId="478"/>
          <ac:spMkLst>
            <pc:docMk/>
            <pc:sldMk cId="2124848710" sldId="281"/>
            <ac:spMk id="8" creationId="{40AF43CC-DD34-B66D-2100-C70E6AB3ED53}"/>
          </ac:spMkLst>
        </pc:spChg>
        <pc:picChg chg="add mod">
          <ac:chgData name="Roberto Gallardo" userId="49a044883f185952" providerId="LiveId" clId="{25BE2D22-C10C-457D-82F3-1AE0124C2F97}" dt="2023-01-13T00:39:20.371" v="1520" actId="1076"/>
          <ac:picMkLst>
            <pc:docMk/>
            <pc:sldMk cId="2124848710" sldId="281"/>
            <ac:picMk id="5" creationId="{2A59AE6B-1B9E-0347-0422-DB514C73822C}"/>
          </ac:picMkLst>
        </pc:picChg>
        <pc:picChg chg="add del mod">
          <ac:chgData name="Roberto Gallardo" userId="49a044883f185952" providerId="LiveId" clId="{25BE2D22-C10C-457D-82F3-1AE0124C2F97}" dt="2023-01-11T22:34:48.191" v="606" actId="478"/>
          <ac:picMkLst>
            <pc:docMk/>
            <pc:sldMk cId="2124848710" sldId="281"/>
            <ac:picMk id="5" creationId="{A3690EF6-1452-F2F3-BDD9-05004AEBC4D9}"/>
          </ac:picMkLst>
        </pc:picChg>
        <pc:picChg chg="del">
          <ac:chgData name="Roberto Gallardo" userId="49a044883f185952" providerId="LiveId" clId="{25BE2D22-C10C-457D-82F3-1AE0124C2F97}" dt="2023-01-10T00:37:00.095" v="567" actId="478"/>
          <ac:picMkLst>
            <pc:docMk/>
            <pc:sldMk cId="2124848710" sldId="281"/>
            <ac:picMk id="9" creationId="{03E7E678-7ACC-337D-5E39-82A936AE17EF}"/>
          </ac:picMkLst>
        </pc:picChg>
        <pc:picChg chg="add del mod">
          <ac:chgData name="Roberto Gallardo" userId="49a044883f185952" providerId="LiveId" clId="{25BE2D22-C10C-457D-82F3-1AE0124C2F97}" dt="2023-01-13T00:38:58.887" v="1513" actId="478"/>
          <ac:picMkLst>
            <pc:docMk/>
            <pc:sldMk cId="2124848710" sldId="281"/>
            <ac:picMk id="10" creationId="{C4A82F95-FBF6-C21F-2E20-237244FD5C6C}"/>
          </ac:picMkLst>
        </pc:picChg>
        <pc:picChg chg="del ord">
          <ac:chgData name="Roberto Gallardo" userId="49a044883f185952" providerId="LiveId" clId="{25BE2D22-C10C-457D-82F3-1AE0124C2F97}" dt="2023-01-14T14:23:58.117" v="2302" actId="478"/>
          <ac:picMkLst>
            <pc:docMk/>
            <pc:sldMk cId="2124848710" sldId="281"/>
            <ac:picMk id="13" creationId="{4F7357C3-AA47-A578-E18E-C38D0920BC2B}"/>
          </ac:picMkLst>
        </pc:picChg>
      </pc:sldChg>
      <pc:sldChg chg="addSp delSp modSp add mod">
        <pc:chgData name="Roberto Gallardo" userId="49a044883f185952" providerId="LiveId" clId="{25BE2D22-C10C-457D-82F3-1AE0124C2F97}" dt="2023-01-14T14:24:00.749" v="2303" actId="478"/>
        <pc:sldMkLst>
          <pc:docMk/>
          <pc:sldMk cId="2028175529" sldId="282"/>
        </pc:sldMkLst>
        <pc:spChg chg="mod">
          <ac:chgData name="Roberto Gallardo" userId="49a044883f185952" providerId="LiveId" clId="{25BE2D22-C10C-457D-82F3-1AE0124C2F97}" dt="2023-01-13T00:39:39.199" v="1523" actId="20577"/>
          <ac:spMkLst>
            <pc:docMk/>
            <pc:sldMk cId="2028175529" sldId="282"/>
            <ac:spMk id="2" creationId="{C03B1400-5F72-D252-1DBE-EDCD6E63B07C}"/>
          </ac:spMkLst>
        </pc:spChg>
        <pc:picChg chg="add del mod">
          <ac:chgData name="Roberto Gallardo" userId="49a044883f185952" providerId="LiveId" clId="{25BE2D22-C10C-457D-82F3-1AE0124C2F97}" dt="2023-01-13T00:40:50.708" v="1524" actId="478"/>
          <ac:picMkLst>
            <pc:docMk/>
            <pc:sldMk cId="2028175529" sldId="282"/>
            <ac:picMk id="5" creationId="{49F907CC-2FFC-9CA0-1E54-6281D4D3E038}"/>
          </ac:picMkLst>
        </pc:picChg>
        <pc:picChg chg="add mod">
          <ac:chgData name="Roberto Gallardo" userId="49a044883f185952" providerId="LiveId" clId="{25BE2D22-C10C-457D-82F3-1AE0124C2F97}" dt="2023-01-13T00:41:08.055" v="1531" actId="1076"/>
          <ac:picMkLst>
            <pc:docMk/>
            <pc:sldMk cId="2028175529" sldId="282"/>
            <ac:picMk id="8" creationId="{C96FB809-0226-5B71-8F0F-02E5A446EAFD}"/>
          </ac:picMkLst>
        </pc:picChg>
        <pc:picChg chg="del">
          <ac:chgData name="Roberto Gallardo" userId="49a044883f185952" providerId="LiveId" clId="{25BE2D22-C10C-457D-82F3-1AE0124C2F97}" dt="2023-01-11T22:37:12.135" v="628" actId="478"/>
          <ac:picMkLst>
            <pc:docMk/>
            <pc:sldMk cId="2028175529" sldId="282"/>
            <ac:picMk id="10" creationId="{C4A82F95-FBF6-C21F-2E20-237244FD5C6C}"/>
          </ac:picMkLst>
        </pc:picChg>
        <pc:picChg chg="del ord">
          <ac:chgData name="Roberto Gallardo" userId="49a044883f185952" providerId="LiveId" clId="{25BE2D22-C10C-457D-82F3-1AE0124C2F97}" dt="2023-01-14T14:24:00.749" v="2303" actId="478"/>
          <ac:picMkLst>
            <pc:docMk/>
            <pc:sldMk cId="2028175529" sldId="282"/>
            <ac:picMk id="13" creationId="{4F7357C3-AA47-A578-E18E-C38D0920BC2B}"/>
          </ac:picMkLst>
        </pc:picChg>
      </pc:sldChg>
      <pc:sldChg chg="addSp delSp modSp add mod">
        <pc:chgData name="Roberto Gallardo" userId="49a044883f185952" providerId="LiveId" clId="{25BE2D22-C10C-457D-82F3-1AE0124C2F97}" dt="2023-01-14T14:24:04.423" v="2304" actId="478"/>
        <pc:sldMkLst>
          <pc:docMk/>
          <pc:sldMk cId="1326517747" sldId="283"/>
        </pc:sldMkLst>
        <pc:spChg chg="mod">
          <ac:chgData name="Roberto Gallardo" userId="49a044883f185952" providerId="LiveId" clId="{25BE2D22-C10C-457D-82F3-1AE0124C2F97}" dt="2023-01-11T23:32:42.599" v="1059" actId="20577"/>
          <ac:spMkLst>
            <pc:docMk/>
            <pc:sldMk cId="1326517747" sldId="283"/>
            <ac:spMk id="2" creationId="{C03B1400-5F72-D252-1DBE-EDCD6E63B07C}"/>
          </ac:spMkLst>
        </pc:spChg>
        <pc:graphicFrameChg chg="mod">
          <ac:chgData name="Roberto Gallardo" userId="49a044883f185952" providerId="LiveId" clId="{25BE2D22-C10C-457D-82F3-1AE0124C2F97}" dt="2023-01-11T23:31:28.023" v="1047"/>
          <ac:graphicFrameMkLst>
            <pc:docMk/>
            <pc:sldMk cId="1326517747" sldId="283"/>
            <ac:graphicFrameMk id="6" creationId="{CE45C3AF-C253-DC6A-54C2-FE3F8F710345}"/>
          </ac:graphicFrameMkLst>
        </pc:graphicFrameChg>
        <pc:picChg chg="add del mod">
          <ac:chgData name="Roberto Gallardo" userId="49a044883f185952" providerId="LiveId" clId="{25BE2D22-C10C-457D-82F3-1AE0124C2F97}" dt="2023-01-13T20:31:19.863" v="2207" actId="478"/>
          <ac:picMkLst>
            <pc:docMk/>
            <pc:sldMk cId="1326517747" sldId="283"/>
            <ac:picMk id="5" creationId="{8E464B52-1F1A-1B68-E773-69ECB2BA3D91}"/>
          </ac:picMkLst>
        </pc:picChg>
        <pc:picChg chg="add mod">
          <ac:chgData name="Roberto Gallardo" userId="49a044883f185952" providerId="LiveId" clId="{25BE2D22-C10C-457D-82F3-1AE0124C2F97}" dt="2023-01-13T20:31:35.872" v="2214" actId="1076"/>
          <ac:picMkLst>
            <pc:docMk/>
            <pc:sldMk cId="1326517747" sldId="283"/>
            <ac:picMk id="8" creationId="{9C745558-7BBD-B834-609E-ED244F71DA92}"/>
          </ac:picMkLst>
        </pc:picChg>
        <pc:picChg chg="del ord">
          <ac:chgData name="Roberto Gallardo" userId="49a044883f185952" providerId="LiveId" clId="{25BE2D22-C10C-457D-82F3-1AE0124C2F97}" dt="2023-01-14T14:24:04.423" v="2304" actId="478"/>
          <ac:picMkLst>
            <pc:docMk/>
            <pc:sldMk cId="1326517747" sldId="283"/>
            <ac:picMk id="13" creationId="{4F7357C3-AA47-A578-E18E-C38D0920BC2B}"/>
          </ac:picMkLst>
        </pc:picChg>
      </pc:sldChg>
      <pc:sldChg chg="addSp delSp modSp add mod">
        <pc:chgData name="Roberto Gallardo" userId="49a044883f185952" providerId="LiveId" clId="{25BE2D22-C10C-457D-82F3-1AE0124C2F97}" dt="2023-01-14T14:24:09.165" v="2305" actId="478"/>
        <pc:sldMkLst>
          <pc:docMk/>
          <pc:sldMk cId="783739251" sldId="284"/>
        </pc:sldMkLst>
        <pc:spChg chg="mod">
          <ac:chgData name="Roberto Gallardo" userId="49a044883f185952" providerId="LiveId" clId="{25BE2D22-C10C-457D-82F3-1AE0124C2F97}" dt="2023-01-11T22:42:19.148" v="762" actId="20577"/>
          <ac:spMkLst>
            <pc:docMk/>
            <pc:sldMk cId="783739251" sldId="284"/>
            <ac:spMk id="2" creationId="{C03B1400-5F72-D252-1DBE-EDCD6E63B07C}"/>
          </ac:spMkLst>
        </pc:spChg>
        <pc:picChg chg="add del mod">
          <ac:chgData name="Roberto Gallardo" userId="49a044883f185952" providerId="LiveId" clId="{25BE2D22-C10C-457D-82F3-1AE0124C2F97}" dt="2023-01-13T20:32:53.569" v="2217" actId="478"/>
          <ac:picMkLst>
            <pc:docMk/>
            <pc:sldMk cId="783739251" sldId="284"/>
            <ac:picMk id="5" creationId="{7FC44A9F-60F0-EA6C-7DA5-36827CEDEE07}"/>
          </ac:picMkLst>
        </pc:picChg>
        <pc:picChg chg="add mod">
          <ac:chgData name="Roberto Gallardo" userId="49a044883f185952" providerId="LiveId" clId="{25BE2D22-C10C-457D-82F3-1AE0124C2F97}" dt="2023-01-13T20:33:09.708" v="2224" actId="1076"/>
          <ac:picMkLst>
            <pc:docMk/>
            <pc:sldMk cId="783739251" sldId="284"/>
            <ac:picMk id="8" creationId="{5EB75393-923B-5E8A-A45C-412BB00B7CE6}"/>
          </ac:picMkLst>
        </pc:picChg>
        <pc:picChg chg="del ord">
          <ac:chgData name="Roberto Gallardo" userId="49a044883f185952" providerId="LiveId" clId="{25BE2D22-C10C-457D-82F3-1AE0124C2F97}" dt="2023-01-14T14:24:09.165" v="2305" actId="478"/>
          <ac:picMkLst>
            <pc:docMk/>
            <pc:sldMk cId="783739251" sldId="284"/>
            <ac:picMk id="13" creationId="{4F7357C3-AA47-A578-E18E-C38D0920BC2B}"/>
          </ac:picMkLst>
        </pc:picChg>
      </pc:sldChg>
      <pc:sldChg chg="addSp delSp modSp add mod">
        <pc:chgData name="Roberto Gallardo" userId="49a044883f185952" providerId="LiveId" clId="{25BE2D22-C10C-457D-82F3-1AE0124C2F97}" dt="2023-01-14T14:24:12.553" v="2306" actId="478"/>
        <pc:sldMkLst>
          <pc:docMk/>
          <pc:sldMk cId="1676122233" sldId="285"/>
        </pc:sldMkLst>
        <pc:spChg chg="mod">
          <ac:chgData name="Roberto Gallardo" userId="49a044883f185952" providerId="LiveId" clId="{25BE2D22-C10C-457D-82F3-1AE0124C2F97}" dt="2023-01-11T22:44:54.647" v="808"/>
          <ac:spMkLst>
            <pc:docMk/>
            <pc:sldMk cId="1676122233" sldId="285"/>
            <ac:spMk id="2" creationId="{C03B1400-5F72-D252-1DBE-EDCD6E63B07C}"/>
          </ac:spMkLst>
        </pc:spChg>
        <pc:picChg chg="add del mod">
          <ac:chgData name="Roberto Gallardo" userId="49a044883f185952" providerId="LiveId" clId="{25BE2D22-C10C-457D-82F3-1AE0124C2F97}" dt="2023-01-13T00:49:15.012" v="1544" actId="478"/>
          <ac:picMkLst>
            <pc:docMk/>
            <pc:sldMk cId="1676122233" sldId="285"/>
            <ac:picMk id="5" creationId="{FB28BB10-4440-C49C-C212-9B1F86DA2A53}"/>
          </ac:picMkLst>
        </pc:picChg>
        <pc:picChg chg="add mod">
          <ac:chgData name="Roberto Gallardo" userId="49a044883f185952" providerId="LiveId" clId="{25BE2D22-C10C-457D-82F3-1AE0124C2F97}" dt="2023-01-13T00:49:29.987" v="1551" actId="1076"/>
          <ac:picMkLst>
            <pc:docMk/>
            <pc:sldMk cId="1676122233" sldId="285"/>
            <ac:picMk id="8" creationId="{48B1E2F8-C8FE-C52D-F7C0-EE1A726B9349}"/>
          </ac:picMkLst>
        </pc:picChg>
        <pc:picChg chg="del ord">
          <ac:chgData name="Roberto Gallardo" userId="49a044883f185952" providerId="LiveId" clId="{25BE2D22-C10C-457D-82F3-1AE0124C2F97}" dt="2023-01-14T14:24:12.553" v="2306" actId="478"/>
          <ac:picMkLst>
            <pc:docMk/>
            <pc:sldMk cId="1676122233" sldId="285"/>
            <ac:picMk id="13" creationId="{4F7357C3-AA47-A578-E18E-C38D0920BC2B}"/>
          </ac:picMkLst>
        </pc:picChg>
      </pc:sldChg>
      <pc:sldChg chg="addSp delSp modSp add mod">
        <pc:chgData name="Roberto Gallardo" userId="49a044883f185952" providerId="LiveId" clId="{25BE2D22-C10C-457D-82F3-1AE0124C2F97}" dt="2023-01-14T14:24:19.337" v="2307" actId="478"/>
        <pc:sldMkLst>
          <pc:docMk/>
          <pc:sldMk cId="3100398757" sldId="286"/>
        </pc:sldMkLst>
        <pc:spChg chg="mod">
          <ac:chgData name="Roberto Gallardo" userId="49a044883f185952" providerId="LiveId" clId="{25BE2D22-C10C-457D-82F3-1AE0124C2F97}" dt="2023-01-11T22:45:11.982" v="818" actId="20577"/>
          <ac:spMkLst>
            <pc:docMk/>
            <pc:sldMk cId="3100398757" sldId="286"/>
            <ac:spMk id="2" creationId="{C03B1400-5F72-D252-1DBE-EDCD6E63B07C}"/>
          </ac:spMkLst>
        </pc:spChg>
        <pc:picChg chg="add del mod">
          <ac:chgData name="Roberto Gallardo" userId="49a044883f185952" providerId="LiveId" clId="{25BE2D22-C10C-457D-82F3-1AE0124C2F97}" dt="2023-01-13T00:47:28.727" v="1534" actId="478"/>
          <ac:picMkLst>
            <pc:docMk/>
            <pc:sldMk cId="3100398757" sldId="286"/>
            <ac:picMk id="5" creationId="{AFF98FE7-2589-C430-0EAD-99850F92F54F}"/>
          </ac:picMkLst>
        </pc:picChg>
        <pc:picChg chg="add mod">
          <ac:chgData name="Roberto Gallardo" userId="49a044883f185952" providerId="LiveId" clId="{25BE2D22-C10C-457D-82F3-1AE0124C2F97}" dt="2023-01-13T00:47:43.328" v="1541" actId="1076"/>
          <ac:picMkLst>
            <pc:docMk/>
            <pc:sldMk cId="3100398757" sldId="286"/>
            <ac:picMk id="8" creationId="{67EF222E-EF11-45B4-B78B-674626454C4E}"/>
          </ac:picMkLst>
        </pc:picChg>
        <pc:picChg chg="del ord">
          <ac:chgData name="Roberto Gallardo" userId="49a044883f185952" providerId="LiveId" clId="{25BE2D22-C10C-457D-82F3-1AE0124C2F97}" dt="2023-01-14T14:24:19.337" v="2307" actId="478"/>
          <ac:picMkLst>
            <pc:docMk/>
            <pc:sldMk cId="3100398757" sldId="286"/>
            <ac:picMk id="13" creationId="{4F7357C3-AA47-A578-E18E-C38D0920BC2B}"/>
          </ac:picMkLst>
        </pc:picChg>
      </pc:sldChg>
      <pc:sldChg chg="addSp delSp modSp add mod">
        <pc:chgData name="Roberto Gallardo" userId="49a044883f185952" providerId="LiveId" clId="{25BE2D22-C10C-457D-82F3-1AE0124C2F97}" dt="2023-01-14T14:24:22.221" v="2308" actId="478"/>
        <pc:sldMkLst>
          <pc:docMk/>
          <pc:sldMk cId="1546475425" sldId="287"/>
        </pc:sldMkLst>
        <pc:spChg chg="mod">
          <ac:chgData name="Roberto Gallardo" userId="49a044883f185952" providerId="LiveId" clId="{25BE2D22-C10C-457D-82F3-1AE0124C2F97}" dt="2023-01-11T22:45:31.169" v="847" actId="20577"/>
          <ac:spMkLst>
            <pc:docMk/>
            <pc:sldMk cId="1546475425" sldId="287"/>
            <ac:spMk id="2" creationId="{C03B1400-5F72-D252-1DBE-EDCD6E63B07C}"/>
          </ac:spMkLst>
        </pc:spChg>
        <pc:picChg chg="add del mod">
          <ac:chgData name="Roberto Gallardo" userId="49a044883f185952" providerId="LiveId" clId="{25BE2D22-C10C-457D-82F3-1AE0124C2F97}" dt="2023-01-13T20:34:37.724" v="2227" actId="478"/>
          <ac:picMkLst>
            <pc:docMk/>
            <pc:sldMk cId="1546475425" sldId="287"/>
            <ac:picMk id="5" creationId="{FD832A6E-2207-8032-0D54-78174FBE0415}"/>
          </ac:picMkLst>
        </pc:picChg>
        <pc:picChg chg="add mod">
          <ac:chgData name="Roberto Gallardo" userId="49a044883f185952" providerId="LiveId" clId="{25BE2D22-C10C-457D-82F3-1AE0124C2F97}" dt="2023-01-13T20:34:56.281" v="2235" actId="1076"/>
          <ac:picMkLst>
            <pc:docMk/>
            <pc:sldMk cId="1546475425" sldId="287"/>
            <ac:picMk id="8" creationId="{46427D8E-669F-B7B7-9C33-5BCC9BE16612}"/>
          </ac:picMkLst>
        </pc:picChg>
        <pc:picChg chg="del ord">
          <ac:chgData name="Roberto Gallardo" userId="49a044883f185952" providerId="LiveId" clId="{25BE2D22-C10C-457D-82F3-1AE0124C2F97}" dt="2023-01-14T14:24:22.221" v="2308" actId="478"/>
          <ac:picMkLst>
            <pc:docMk/>
            <pc:sldMk cId="1546475425" sldId="287"/>
            <ac:picMk id="13" creationId="{4F7357C3-AA47-A578-E18E-C38D0920BC2B}"/>
          </ac:picMkLst>
        </pc:picChg>
      </pc:sldChg>
      <pc:sldChg chg="addSp delSp modSp add mod">
        <pc:chgData name="Roberto Gallardo" userId="49a044883f185952" providerId="LiveId" clId="{25BE2D22-C10C-457D-82F3-1AE0124C2F97}" dt="2023-01-14T14:24:27.885" v="2310" actId="478"/>
        <pc:sldMkLst>
          <pc:docMk/>
          <pc:sldMk cId="1380517306" sldId="288"/>
        </pc:sldMkLst>
        <pc:spChg chg="mod">
          <ac:chgData name="Roberto Gallardo" userId="49a044883f185952" providerId="LiveId" clId="{25BE2D22-C10C-457D-82F3-1AE0124C2F97}" dt="2023-01-11T22:46:41.249" v="928" actId="14100"/>
          <ac:spMkLst>
            <pc:docMk/>
            <pc:sldMk cId="1380517306" sldId="288"/>
            <ac:spMk id="2" creationId="{C03B1400-5F72-D252-1DBE-EDCD6E63B07C}"/>
          </ac:spMkLst>
        </pc:spChg>
        <pc:picChg chg="add del mod">
          <ac:chgData name="Roberto Gallardo" userId="49a044883f185952" providerId="LiveId" clId="{25BE2D22-C10C-457D-82F3-1AE0124C2F97}" dt="2023-01-13T20:38:34.476" v="2249" actId="478"/>
          <ac:picMkLst>
            <pc:docMk/>
            <pc:sldMk cId="1380517306" sldId="288"/>
            <ac:picMk id="5" creationId="{C5E67C54-9C75-F02C-1246-39D834A95E29}"/>
          </ac:picMkLst>
        </pc:picChg>
        <pc:picChg chg="add mod">
          <ac:chgData name="Roberto Gallardo" userId="49a044883f185952" providerId="LiveId" clId="{25BE2D22-C10C-457D-82F3-1AE0124C2F97}" dt="2023-01-13T20:38:54.477" v="2256" actId="1076"/>
          <ac:picMkLst>
            <pc:docMk/>
            <pc:sldMk cId="1380517306" sldId="288"/>
            <ac:picMk id="8" creationId="{DA143094-A860-740B-5598-937C43F51433}"/>
          </ac:picMkLst>
        </pc:picChg>
        <pc:picChg chg="del ord">
          <ac:chgData name="Roberto Gallardo" userId="49a044883f185952" providerId="LiveId" clId="{25BE2D22-C10C-457D-82F3-1AE0124C2F97}" dt="2023-01-14T14:24:27.885" v="2310" actId="478"/>
          <ac:picMkLst>
            <pc:docMk/>
            <pc:sldMk cId="1380517306" sldId="288"/>
            <ac:picMk id="13" creationId="{4F7357C3-AA47-A578-E18E-C38D0920BC2B}"/>
          </ac:picMkLst>
        </pc:picChg>
      </pc:sldChg>
      <pc:sldChg chg="addSp delSp modSp add mod">
        <pc:chgData name="Roberto Gallardo" userId="49a044883f185952" providerId="LiveId" clId="{25BE2D22-C10C-457D-82F3-1AE0124C2F97}" dt="2023-01-14T14:24:31.159" v="2311" actId="478"/>
        <pc:sldMkLst>
          <pc:docMk/>
          <pc:sldMk cId="1388671151" sldId="289"/>
        </pc:sldMkLst>
        <pc:spChg chg="mod">
          <ac:chgData name="Roberto Gallardo" userId="49a044883f185952" providerId="LiveId" clId="{25BE2D22-C10C-457D-82F3-1AE0124C2F97}" dt="2023-01-11T22:47:12.899" v="977" actId="20577"/>
          <ac:spMkLst>
            <pc:docMk/>
            <pc:sldMk cId="1388671151" sldId="289"/>
            <ac:spMk id="2" creationId="{C03B1400-5F72-D252-1DBE-EDCD6E63B07C}"/>
          </ac:spMkLst>
        </pc:spChg>
        <pc:picChg chg="add del mod">
          <ac:chgData name="Roberto Gallardo" userId="49a044883f185952" providerId="LiveId" clId="{25BE2D22-C10C-457D-82F3-1AE0124C2F97}" dt="2023-01-13T20:39:51.950" v="2259" actId="478"/>
          <ac:picMkLst>
            <pc:docMk/>
            <pc:sldMk cId="1388671151" sldId="289"/>
            <ac:picMk id="5" creationId="{83E6DDE1-4A6B-47A6-8C1F-B71F6390E80D}"/>
          </ac:picMkLst>
        </pc:picChg>
        <pc:picChg chg="add mod">
          <ac:chgData name="Roberto Gallardo" userId="49a044883f185952" providerId="LiveId" clId="{25BE2D22-C10C-457D-82F3-1AE0124C2F97}" dt="2023-01-13T20:40:08.194" v="2266" actId="1076"/>
          <ac:picMkLst>
            <pc:docMk/>
            <pc:sldMk cId="1388671151" sldId="289"/>
            <ac:picMk id="8" creationId="{AED980C4-47A1-C04E-25A3-CD82D8EDBD08}"/>
          </ac:picMkLst>
        </pc:picChg>
        <pc:picChg chg="del ord">
          <ac:chgData name="Roberto Gallardo" userId="49a044883f185952" providerId="LiveId" clId="{25BE2D22-C10C-457D-82F3-1AE0124C2F97}" dt="2023-01-14T14:24:31.159" v="2311" actId="478"/>
          <ac:picMkLst>
            <pc:docMk/>
            <pc:sldMk cId="1388671151" sldId="289"/>
            <ac:picMk id="13" creationId="{4F7357C3-AA47-A578-E18E-C38D0920BC2B}"/>
          </ac:picMkLst>
        </pc:picChg>
      </pc:sldChg>
      <pc:sldChg chg="addSp delSp modSp add mod">
        <pc:chgData name="Roberto Gallardo" userId="49a044883f185952" providerId="LiveId" clId="{25BE2D22-C10C-457D-82F3-1AE0124C2F97}" dt="2023-01-14T14:24:53.718" v="2314"/>
        <pc:sldMkLst>
          <pc:docMk/>
          <pc:sldMk cId="2355376039" sldId="290"/>
        </pc:sldMkLst>
        <pc:spChg chg="mod">
          <ac:chgData name="Roberto Gallardo" userId="49a044883f185952" providerId="LiveId" clId="{25BE2D22-C10C-457D-82F3-1AE0124C2F97}" dt="2023-01-11T22:47:27.629" v="995" actId="20577"/>
          <ac:spMkLst>
            <pc:docMk/>
            <pc:sldMk cId="2355376039" sldId="290"/>
            <ac:spMk id="2" creationId="{C03B1400-5F72-D252-1DBE-EDCD6E63B07C}"/>
          </ac:spMkLst>
        </pc:spChg>
        <pc:spChg chg="add mod">
          <ac:chgData name="Roberto Gallardo" userId="49a044883f185952" providerId="LiveId" clId="{25BE2D22-C10C-457D-82F3-1AE0124C2F97}" dt="2023-01-12T00:09:57.404" v="1258" actId="1038"/>
          <ac:spMkLst>
            <pc:docMk/>
            <pc:sldMk cId="2355376039" sldId="290"/>
            <ac:spMk id="3" creationId="{F554B59C-7317-13C7-D16E-7ACCF379CFEE}"/>
          </ac:spMkLst>
        </pc:spChg>
        <pc:spChg chg="add mod">
          <ac:chgData name="Roberto Gallardo" userId="49a044883f185952" providerId="LiveId" clId="{25BE2D22-C10C-457D-82F3-1AE0124C2F97}" dt="2023-01-14T14:24:53.718" v="2314"/>
          <ac:spMkLst>
            <pc:docMk/>
            <pc:sldMk cId="2355376039" sldId="290"/>
            <ac:spMk id="5" creationId="{AD271B2F-57B1-DDF3-844C-402D53D67F69}"/>
          </ac:spMkLst>
        </pc:spChg>
        <pc:spChg chg="del">
          <ac:chgData name="Roberto Gallardo" userId="49a044883f185952" providerId="LiveId" clId="{25BE2D22-C10C-457D-82F3-1AE0124C2F97}" dt="2023-01-14T14:24:53.274" v="2313" actId="478"/>
          <ac:spMkLst>
            <pc:docMk/>
            <pc:sldMk cId="2355376039" sldId="290"/>
            <ac:spMk id="7" creationId="{51811D46-3545-CBB8-9C35-BAFF095496AA}"/>
          </ac:spMkLst>
        </pc:spChg>
        <pc:picChg chg="add mod">
          <ac:chgData name="Roberto Gallardo" userId="49a044883f185952" providerId="LiveId" clId="{25BE2D22-C10C-457D-82F3-1AE0124C2F97}" dt="2023-01-13T20:41:14.378" v="2276" actId="1076"/>
          <ac:picMkLst>
            <pc:docMk/>
            <pc:sldMk cId="2355376039" sldId="290"/>
            <ac:picMk id="8" creationId="{691D88B5-CF63-BD38-2195-191C7A96E128}"/>
          </ac:picMkLst>
        </pc:picChg>
        <pc:picChg chg="add del mod">
          <ac:chgData name="Roberto Gallardo" userId="49a044883f185952" providerId="LiveId" clId="{25BE2D22-C10C-457D-82F3-1AE0124C2F97}" dt="2023-01-12T00:22:16.301" v="1286" actId="478"/>
          <ac:picMkLst>
            <pc:docMk/>
            <pc:sldMk cId="2355376039" sldId="290"/>
            <ac:picMk id="8" creationId="{8F5D28DC-366E-6475-17B2-A0C5D31ED66B}"/>
          </ac:picMkLst>
        </pc:picChg>
        <pc:picChg chg="add del mod">
          <ac:chgData name="Roberto Gallardo" userId="49a044883f185952" providerId="LiveId" clId="{25BE2D22-C10C-457D-82F3-1AE0124C2F97}" dt="2023-01-13T20:40:58.990" v="2269" actId="478"/>
          <ac:picMkLst>
            <pc:docMk/>
            <pc:sldMk cId="2355376039" sldId="290"/>
            <ac:picMk id="10" creationId="{544F6DC2-6E58-8070-44FA-C8565BF1D685}"/>
          </ac:picMkLst>
        </pc:picChg>
        <pc:picChg chg="del ord">
          <ac:chgData name="Roberto Gallardo" userId="49a044883f185952" providerId="LiveId" clId="{25BE2D22-C10C-457D-82F3-1AE0124C2F97}" dt="2023-01-14T14:24:40.876" v="2312" actId="478"/>
          <ac:picMkLst>
            <pc:docMk/>
            <pc:sldMk cId="2355376039" sldId="290"/>
            <ac:picMk id="13" creationId="{4F7357C3-AA47-A578-E18E-C38D0920BC2B}"/>
          </ac:picMkLst>
        </pc:picChg>
      </pc:sldChg>
      <pc:sldChg chg="addSp delSp modSp add mod">
        <pc:chgData name="Roberto Gallardo" userId="49a044883f185952" providerId="LiveId" clId="{25BE2D22-C10C-457D-82F3-1AE0124C2F97}" dt="2023-01-14T14:25:12.736" v="2319"/>
        <pc:sldMkLst>
          <pc:docMk/>
          <pc:sldMk cId="3757257295" sldId="291"/>
        </pc:sldMkLst>
        <pc:spChg chg="mod">
          <ac:chgData name="Roberto Gallardo" userId="49a044883f185952" providerId="LiveId" clId="{25BE2D22-C10C-457D-82F3-1AE0124C2F97}" dt="2023-01-11T22:56:33.692" v="1008" actId="20577"/>
          <ac:spMkLst>
            <pc:docMk/>
            <pc:sldMk cId="3757257295" sldId="291"/>
            <ac:spMk id="2" creationId="{C03B1400-5F72-D252-1DBE-EDCD6E63B07C}"/>
          </ac:spMkLst>
        </pc:spChg>
        <pc:spChg chg="add mod">
          <ac:chgData name="Roberto Gallardo" userId="49a044883f185952" providerId="LiveId" clId="{25BE2D22-C10C-457D-82F3-1AE0124C2F97}" dt="2023-01-12T00:10:20.819" v="1268" actId="20577"/>
          <ac:spMkLst>
            <pc:docMk/>
            <pc:sldMk cId="3757257295" sldId="291"/>
            <ac:spMk id="3" creationId="{0DD3D37B-27F1-F3E8-0A30-705EC12F09D5}"/>
          </ac:spMkLst>
        </pc:spChg>
        <pc:spChg chg="add del mod">
          <ac:chgData name="Roberto Gallardo" userId="49a044883f185952" providerId="LiveId" clId="{25BE2D22-C10C-457D-82F3-1AE0124C2F97}" dt="2023-01-14T14:25:09.623" v="2317"/>
          <ac:spMkLst>
            <pc:docMk/>
            <pc:sldMk cId="3757257295" sldId="291"/>
            <ac:spMk id="5" creationId="{483DB107-11DE-DF88-519E-8C57C7DD7336}"/>
          </ac:spMkLst>
        </pc:spChg>
        <pc:spChg chg="del">
          <ac:chgData name="Roberto Gallardo" userId="49a044883f185952" providerId="LiveId" clId="{25BE2D22-C10C-457D-82F3-1AE0124C2F97}" dt="2023-01-14T14:25:12.306" v="2318" actId="478"/>
          <ac:spMkLst>
            <pc:docMk/>
            <pc:sldMk cId="3757257295" sldId="291"/>
            <ac:spMk id="7" creationId="{51811D46-3545-CBB8-9C35-BAFF095496AA}"/>
          </ac:spMkLst>
        </pc:spChg>
        <pc:spChg chg="add mod">
          <ac:chgData name="Roberto Gallardo" userId="49a044883f185952" providerId="LiveId" clId="{25BE2D22-C10C-457D-82F3-1AE0124C2F97}" dt="2023-01-14T14:25:12.736" v="2319"/>
          <ac:spMkLst>
            <pc:docMk/>
            <pc:sldMk cId="3757257295" sldId="291"/>
            <ac:spMk id="9" creationId="{7186EF87-E728-D13E-4ADB-699D1D4C3197}"/>
          </ac:spMkLst>
        </pc:spChg>
        <pc:graphicFrameChg chg="mod">
          <ac:chgData name="Roberto Gallardo" userId="49a044883f185952" providerId="LiveId" clId="{25BE2D22-C10C-457D-82F3-1AE0124C2F97}" dt="2023-01-12T00:24:33.263" v="1307"/>
          <ac:graphicFrameMkLst>
            <pc:docMk/>
            <pc:sldMk cId="3757257295" sldId="291"/>
            <ac:graphicFrameMk id="6" creationId="{CE45C3AF-C253-DC6A-54C2-FE3F8F710345}"/>
          </ac:graphicFrameMkLst>
        </pc:graphicFrameChg>
        <pc:picChg chg="add mod">
          <ac:chgData name="Roberto Gallardo" userId="49a044883f185952" providerId="LiveId" clId="{25BE2D22-C10C-457D-82F3-1AE0124C2F97}" dt="2023-01-13T20:42:09.429" v="2286" actId="1076"/>
          <ac:picMkLst>
            <pc:docMk/>
            <pc:sldMk cId="3757257295" sldId="291"/>
            <ac:picMk id="8" creationId="{674086C1-C7A9-8285-AAEA-22247A0797F9}"/>
          </ac:picMkLst>
        </pc:picChg>
        <pc:picChg chg="add del mod">
          <ac:chgData name="Roberto Gallardo" userId="49a044883f185952" providerId="LiveId" clId="{25BE2D22-C10C-457D-82F3-1AE0124C2F97}" dt="2023-01-12T00:24:01.470" v="1297" actId="478"/>
          <ac:picMkLst>
            <pc:docMk/>
            <pc:sldMk cId="3757257295" sldId="291"/>
            <ac:picMk id="8" creationId="{96293E5E-D452-41E7-A15F-759CF4CBFDC3}"/>
          </ac:picMkLst>
        </pc:picChg>
        <pc:picChg chg="add del mod">
          <ac:chgData name="Roberto Gallardo" userId="49a044883f185952" providerId="LiveId" clId="{25BE2D22-C10C-457D-82F3-1AE0124C2F97}" dt="2023-01-13T20:41:52.925" v="2279" actId="478"/>
          <ac:picMkLst>
            <pc:docMk/>
            <pc:sldMk cId="3757257295" sldId="291"/>
            <ac:picMk id="10" creationId="{D5BAA171-9CEB-D897-BCC8-382AACA9FB83}"/>
          </ac:picMkLst>
        </pc:picChg>
        <pc:picChg chg="del ord">
          <ac:chgData name="Roberto Gallardo" userId="49a044883f185952" providerId="LiveId" clId="{25BE2D22-C10C-457D-82F3-1AE0124C2F97}" dt="2023-01-14T14:25:07.169" v="2315" actId="478"/>
          <ac:picMkLst>
            <pc:docMk/>
            <pc:sldMk cId="3757257295" sldId="291"/>
            <ac:picMk id="13" creationId="{4F7357C3-AA47-A578-E18E-C38D0920BC2B}"/>
          </ac:picMkLst>
        </pc:picChg>
      </pc:sldChg>
      <pc:sldChg chg="addSp delSp modSp add mod">
        <pc:chgData name="Roberto Gallardo" userId="49a044883f185952" providerId="LiveId" clId="{25BE2D22-C10C-457D-82F3-1AE0124C2F97}" dt="2023-01-14T14:24:24.822" v="2309" actId="478"/>
        <pc:sldMkLst>
          <pc:docMk/>
          <pc:sldMk cId="1259856727" sldId="292"/>
        </pc:sldMkLst>
        <pc:spChg chg="mod">
          <ac:chgData name="Roberto Gallardo" userId="49a044883f185952" providerId="LiveId" clId="{25BE2D22-C10C-457D-82F3-1AE0124C2F97}" dt="2023-01-11T23:03:17.910" v="1024" actId="20577"/>
          <ac:spMkLst>
            <pc:docMk/>
            <pc:sldMk cId="1259856727" sldId="292"/>
            <ac:spMk id="2" creationId="{C03B1400-5F72-D252-1DBE-EDCD6E63B07C}"/>
          </ac:spMkLst>
        </pc:spChg>
        <pc:picChg chg="add del mod">
          <ac:chgData name="Roberto Gallardo" userId="49a044883f185952" providerId="LiveId" clId="{25BE2D22-C10C-457D-82F3-1AE0124C2F97}" dt="2023-01-13T20:36:01.013" v="2239" actId="478"/>
          <ac:picMkLst>
            <pc:docMk/>
            <pc:sldMk cId="1259856727" sldId="292"/>
            <ac:picMk id="5" creationId="{F85B19F8-3D9A-8A85-5A11-DFD95EFF75A0}"/>
          </ac:picMkLst>
        </pc:picChg>
        <pc:picChg chg="add mod">
          <ac:chgData name="Roberto Gallardo" userId="49a044883f185952" providerId="LiveId" clId="{25BE2D22-C10C-457D-82F3-1AE0124C2F97}" dt="2023-01-13T20:36:16.877" v="2246" actId="1076"/>
          <ac:picMkLst>
            <pc:docMk/>
            <pc:sldMk cId="1259856727" sldId="292"/>
            <ac:picMk id="8" creationId="{ACDBDE58-AC87-FD18-3F93-26923B735BD3}"/>
          </ac:picMkLst>
        </pc:picChg>
        <pc:picChg chg="del ord">
          <ac:chgData name="Roberto Gallardo" userId="49a044883f185952" providerId="LiveId" clId="{25BE2D22-C10C-457D-82F3-1AE0124C2F97}" dt="2023-01-14T14:24:24.822" v="2309" actId="478"/>
          <ac:picMkLst>
            <pc:docMk/>
            <pc:sldMk cId="1259856727" sldId="292"/>
            <ac:picMk id="13" creationId="{4F7357C3-AA47-A578-E18E-C38D0920BC2B}"/>
          </ac:picMkLst>
        </pc:picChg>
      </pc:sldChg>
      <pc:sldChg chg="delSp modSp add mod">
        <pc:chgData name="Roberto Gallardo" userId="49a044883f185952" providerId="LiveId" clId="{25BE2D22-C10C-457D-82F3-1AE0124C2F97}" dt="2023-01-14T14:23:52.109" v="2301" actId="478"/>
        <pc:sldMkLst>
          <pc:docMk/>
          <pc:sldMk cId="3324519687" sldId="293"/>
        </pc:sldMkLst>
        <pc:picChg chg="del ord">
          <ac:chgData name="Roberto Gallardo" userId="49a044883f185952" providerId="LiveId" clId="{25BE2D22-C10C-457D-82F3-1AE0124C2F97}" dt="2023-01-14T14:23:52.109" v="2301" actId="478"/>
          <ac:picMkLst>
            <pc:docMk/>
            <pc:sldMk cId="3324519687" sldId="293"/>
            <ac:picMk id="13" creationId="{4F7357C3-AA47-A578-E18E-C38D0920BC2B}"/>
          </ac:picMkLst>
        </pc:picChg>
      </pc:sldChg>
      <pc:sldChg chg="addSp delSp modSp add del mod">
        <pc:chgData name="Roberto Gallardo" userId="49a044883f185952" providerId="LiveId" clId="{25BE2D22-C10C-457D-82F3-1AE0124C2F97}" dt="2023-01-13T02:32:06.396" v="1761" actId="47"/>
        <pc:sldMkLst>
          <pc:docMk/>
          <pc:sldMk cId="4283072567" sldId="294"/>
        </pc:sldMkLst>
        <pc:spChg chg="mod">
          <ac:chgData name="Roberto Gallardo" userId="49a044883f185952" providerId="LiveId" clId="{25BE2D22-C10C-457D-82F3-1AE0124C2F97}" dt="2023-01-13T02:24:12.242" v="1688" actId="20577"/>
          <ac:spMkLst>
            <pc:docMk/>
            <pc:sldMk cId="4283072567" sldId="294"/>
            <ac:spMk id="2" creationId="{C03B1400-5F72-D252-1DBE-EDCD6E63B07C}"/>
          </ac:spMkLst>
        </pc:spChg>
        <pc:spChg chg="mod">
          <ac:chgData name="Roberto Gallardo" userId="49a044883f185952" providerId="LiveId" clId="{25BE2D22-C10C-457D-82F3-1AE0124C2F97}" dt="2023-01-13T02:27:54.557" v="1717" actId="20577"/>
          <ac:spMkLst>
            <pc:docMk/>
            <pc:sldMk cId="4283072567" sldId="294"/>
            <ac:spMk id="3" creationId="{AF651823-818E-912D-E331-CDEB914505A8}"/>
          </ac:spMkLst>
        </pc:spChg>
        <pc:picChg chg="add mod">
          <ac:chgData name="Roberto Gallardo" userId="49a044883f185952" providerId="LiveId" clId="{25BE2D22-C10C-457D-82F3-1AE0124C2F97}" dt="2023-01-13T02:24:43.946" v="1695" actId="1076"/>
          <ac:picMkLst>
            <pc:docMk/>
            <pc:sldMk cId="4283072567" sldId="294"/>
            <ac:picMk id="6" creationId="{E4C241FD-A5C1-84E8-410F-86CD1B3B15F7}"/>
          </ac:picMkLst>
        </pc:picChg>
        <pc:picChg chg="del">
          <ac:chgData name="Roberto Gallardo" userId="49a044883f185952" providerId="LiveId" clId="{25BE2D22-C10C-457D-82F3-1AE0124C2F97}" dt="2023-01-13T02:24:14.194" v="1689" actId="478"/>
          <ac:picMkLst>
            <pc:docMk/>
            <pc:sldMk cId="4283072567" sldId="294"/>
            <ac:picMk id="10" creationId="{1B762686-DC65-9B90-CF68-660E6B2284BC}"/>
          </ac:picMkLst>
        </pc:picChg>
        <pc:picChg chg="ord">
          <ac:chgData name="Roberto Gallardo" userId="49a044883f185952" providerId="LiveId" clId="{25BE2D22-C10C-457D-82F3-1AE0124C2F97}" dt="2023-01-13T02:28:05.806" v="1718" actId="166"/>
          <ac:picMkLst>
            <pc:docMk/>
            <pc:sldMk cId="4283072567" sldId="294"/>
            <ac:picMk id="13" creationId="{4F7357C3-AA47-A578-E18E-C38D0920BC2B}"/>
          </ac:picMkLst>
        </pc:picChg>
      </pc:sldChg>
      <pc:sldChg chg="addSp delSp modSp add mod ord">
        <pc:chgData name="Roberto Gallardo" userId="49a044883f185952" providerId="LiveId" clId="{25BE2D22-C10C-457D-82F3-1AE0124C2F97}" dt="2023-01-14T14:23:22.367" v="2297" actId="478"/>
        <pc:sldMkLst>
          <pc:docMk/>
          <pc:sldMk cId="3256182630" sldId="295"/>
        </pc:sldMkLst>
        <pc:spChg chg="mod">
          <ac:chgData name="Roberto Gallardo" userId="49a044883f185952" providerId="LiveId" clId="{25BE2D22-C10C-457D-82F3-1AE0124C2F97}" dt="2023-01-13T02:32:16.357" v="1767" actId="20577"/>
          <ac:spMkLst>
            <pc:docMk/>
            <pc:sldMk cId="3256182630" sldId="295"/>
            <ac:spMk id="2" creationId="{C03B1400-5F72-D252-1DBE-EDCD6E63B07C}"/>
          </ac:spMkLst>
        </pc:spChg>
        <pc:spChg chg="mod">
          <ac:chgData name="Roberto Gallardo" userId="49a044883f185952" providerId="LiveId" clId="{25BE2D22-C10C-457D-82F3-1AE0124C2F97}" dt="2023-01-13T02:31:29.100" v="1754" actId="1035"/>
          <ac:spMkLst>
            <pc:docMk/>
            <pc:sldMk cId="3256182630" sldId="295"/>
            <ac:spMk id="3" creationId="{AF651823-818E-912D-E331-CDEB914505A8}"/>
          </ac:spMkLst>
        </pc:spChg>
        <pc:graphicFrameChg chg="add mod">
          <ac:chgData name="Roberto Gallardo" userId="49a044883f185952" providerId="LiveId" clId="{25BE2D22-C10C-457D-82F3-1AE0124C2F97}" dt="2023-01-13T02:31:03.262" v="1744"/>
          <ac:graphicFrameMkLst>
            <pc:docMk/>
            <pc:sldMk cId="3256182630" sldId="295"/>
            <ac:graphicFrameMk id="8" creationId="{D3B2E8D2-9CCD-964A-5CD5-9F743C3CE109}"/>
          </ac:graphicFrameMkLst>
        </pc:graphicFrameChg>
        <pc:picChg chg="add mod">
          <ac:chgData name="Roberto Gallardo" userId="49a044883f185952" providerId="LiveId" clId="{25BE2D22-C10C-457D-82F3-1AE0124C2F97}" dt="2023-01-13T20:29:39.532" v="2204" actId="1076"/>
          <ac:picMkLst>
            <pc:docMk/>
            <pc:sldMk cId="3256182630" sldId="295"/>
            <ac:picMk id="6" creationId="{1702842D-CEA8-22EA-EB94-B22A16AB6736}"/>
          </ac:picMkLst>
        </pc:picChg>
        <pc:picChg chg="del">
          <ac:chgData name="Roberto Gallardo" userId="49a044883f185952" providerId="LiveId" clId="{25BE2D22-C10C-457D-82F3-1AE0124C2F97}" dt="2023-01-13T02:30:06.608" v="1726" actId="478"/>
          <ac:picMkLst>
            <pc:docMk/>
            <pc:sldMk cId="3256182630" sldId="295"/>
            <ac:picMk id="6" creationId="{E4C241FD-A5C1-84E8-410F-86CD1B3B15F7}"/>
          </ac:picMkLst>
        </pc:picChg>
        <pc:picChg chg="add del mod">
          <ac:chgData name="Roberto Gallardo" userId="49a044883f185952" providerId="LiveId" clId="{25BE2D22-C10C-457D-82F3-1AE0124C2F97}" dt="2023-01-13T20:29:17.840" v="2197" actId="478"/>
          <ac:picMkLst>
            <pc:docMk/>
            <pc:sldMk cId="3256182630" sldId="295"/>
            <ac:picMk id="7" creationId="{03537EF1-AA28-12B3-A8B5-56716712F13E}"/>
          </ac:picMkLst>
        </pc:picChg>
        <pc:picChg chg="del ord">
          <ac:chgData name="Roberto Gallardo" userId="49a044883f185952" providerId="LiveId" clId="{25BE2D22-C10C-457D-82F3-1AE0124C2F97}" dt="2023-01-14T14:23:22.367" v="2297" actId="478"/>
          <ac:picMkLst>
            <pc:docMk/>
            <pc:sldMk cId="3256182630" sldId="295"/>
            <ac:picMk id="13" creationId="{4F7357C3-AA47-A578-E18E-C38D0920BC2B}"/>
          </ac:picMkLst>
        </pc:picChg>
      </pc:sldChg>
      <pc:sldChg chg="delSp modSp add mod">
        <pc:chgData name="Roberto Gallardo" userId="49a044883f185952" providerId="LiveId" clId="{25BE2D22-C10C-457D-82F3-1AE0124C2F97}" dt="2023-01-14T14:23:36.145" v="2298" actId="478"/>
        <pc:sldMkLst>
          <pc:docMk/>
          <pc:sldMk cId="4057156843" sldId="296"/>
        </pc:sldMkLst>
        <pc:picChg chg="del ord">
          <ac:chgData name="Roberto Gallardo" userId="49a044883f185952" providerId="LiveId" clId="{25BE2D22-C10C-457D-82F3-1AE0124C2F97}" dt="2023-01-14T14:23:36.145" v="2298" actId="478"/>
          <ac:picMkLst>
            <pc:docMk/>
            <pc:sldMk cId="4057156843" sldId="296"/>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2080110827" sldId="297"/>
        </pc:sldMkLst>
        <pc:spChg chg="mod">
          <ac:chgData name="Roberto Gallardo" userId="49a044883f185952" providerId="LiveId" clId="{25BE2D22-C10C-457D-82F3-1AE0124C2F97}" dt="2023-01-13T02:36:58.286" v="1840" actId="20577"/>
          <ac:spMkLst>
            <pc:docMk/>
            <pc:sldMk cId="2080110827" sldId="297"/>
            <ac:spMk id="2" creationId="{C03B1400-5F72-D252-1DBE-EDCD6E63B07C}"/>
          </ac:spMkLst>
        </pc:spChg>
        <pc:spChg chg="del">
          <ac:chgData name="Roberto Gallardo" userId="49a044883f185952" providerId="LiveId" clId="{25BE2D22-C10C-457D-82F3-1AE0124C2F97}" dt="2023-01-13T02:34:35.142" v="1804" actId="478"/>
          <ac:spMkLst>
            <pc:docMk/>
            <pc:sldMk cId="2080110827" sldId="297"/>
            <ac:spMk id="3" creationId="{AF651823-818E-912D-E331-CDEB914505A8}"/>
          </ac:spMkLst>
        </pc:spChg>
        <pc:spChg chg="add mod">
          <ac:chgData name="Roberto Gallardo" userId="49a044883f185952" providerId="LiveId" clId="{25BE2D22-C10C-457D-82F3-1AE0124C2F97}" dt="2023-01-13T02:34:45.290" v="1806" actId="1076"/>
          <ac:spMkLst>
            <pc:docMk/>
            <pc:sldMk cId="2080110827" sldId="297"/>
            <ac:spMk id="5" creationId="{49866A15-B76A-3F87-511A-D93ED0BB1636}"/>
          </ac:spMkLst>
        </pc:spChg>
        <pc:picChg chg="add mod">
          <ac:chgData name="Roberto Gallardo" userId="49a044883f185952" providerId="LiveId" clId="{25BE2D22-C10C-457D-82F3-1AE0124C2F97}" dt="2023-01-13T02:38:06.905" v="1847" actId="1076"/>
          <ac:picMkLst>
            <pc:docMk/>
            <pc:sldMk cId="2080110827" sldId="297"/>
            <ac:picMk id="7" creationId="{0388A1BD-F495-CF38-451C-2DAAAE28522D}"/>
          </ac:picMkLst>
        </pc:picChg>
        <pc:picChg chg="del">
          <ac:chgData name="Roberto Gallardo" userId="49a044883f185952" providerId="LiveId" clId="{25BE2D22-C10C-457D-82F3-1AE0124C2F97}" dt="2023-01-13T02:34:48.721" v="1807" actId="478"/>
          <ac:picMkLst>
            <pc:docMk/>
            <pc:sldMk cId="2080110827" sldId="297"/>
            <ac:picMk id="10" creationId="{1B762686-DC65-9B90-CF68-660E6B2284BC}"/>
          </ac:picMkLst>
        </pc:picChg>
        <pc:picChg chg="del ord">
          <ac:chgData name="Roberto Gallardo" userId="49a044883f185952" providerId="LiveId" clId="{25BE2D22-C10C-457D-82F3-1AE0124C2F97}" dt="2023-01-14T14:23:48.880" v="2300" actId="478"/>
          <ac:picMkLst>
            <pc:docMk/>
            <pc:sldMk cId="2080110827" sldId="297"/>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1532666867" sldId="298"/>
        </pc:sldMkLst>
        <pc:spChg chg="mod">
          <ac:chgData name="Roberto Gallardo" userId="49a044883f185952" providerId="LiveId" clId="{25BE2D22-C10C-457D-82F3-1AE0124C2F97}" dt="2023-01-13T02:36:47.797" v="1833" actId="20577"/>
          <ac:spMkLst>
            <pc:docMk/>
            <pc:sldMk cId="1532666867" sldId="298"/>
            <ac:spMk id="2" creationId="{C03B1400-5F72-D252-1DBE-EDCD6E63B07C}"/>
          </ac:spMkLst>
        </pc:spChg>
        <pc:picChg chg="add mod">
          <ac:chgData name="Roberto Gallardo" userId="49a044883f185952" providerId="LiveId" clId="{25BE2D22-C10C-457D-82F3-1AE0124C2F97}" dt="2023-01-13T02:36:10.725" v="1821" actId="1076"/>
          <ac:picMkLst>
            <pc:docMk/>
            <pc:sldMk cId="1532666867" sldId="298"/>
            <ac:picMk id="6" creationId="{F1EBB4A8-83F5-668F-D12B-3E393E0C0F7B}"/>
          </ac:picMkLst>
        </pc:picChg>
        <pc:picChg chg="del ord">
          <ac:chgData name="Roberto Gallardo" userId="49a044883f185952" providerId="LiveId" clId="{25BE2D22-C10C-457D-82F3-1AE0124C2F97}" dt="2023-01-14T14:23:45.981" v="2299" actId="478"/>
          <ac:picMkLst>
            <pc:docMk/>
            <pc:sldMk cId="1532666867" sldId="298"/>
            <ac:picMk id="13" creationId="{4F7357C3-AA47-A578-E18E-C38D0920BC2B}"/>
          </ac:picMkLst>
        </pc:picChg>
      </pc:sldChg>
    </pc:docChg>
  </pc:docChgLst>
  <pc:docChgLst>
    <pc:chgData name="Roberto Gallardo" userId="49a044883f185952" providerId="LiveId" clId="{906130D0-A545-4215-AECB-F4EA0E0C1311}"/>
    <pc:docChg chg="custSel modSld">
      <pc:chgData name="Roberto Gallardo" userId="49a044883f185952" providerId="LiveId" clId="{906130D0-A545-4215-AECB-F4EA0E0C1311}" dt="2023-01-16T15:22:55.673" v="428" actId="27918"/>
      <pc:docMkLst>
        <pc:docMk/>
      </pc:docMkLst>
      <pc:sldChg chg="modSp mod">
        <pc:chgData name="Roberto Gallardo" userId="49a044883f185952" providerId="LiveId" clId="{906130D0-A545-4215-AECB-F4EA0E0C1311}" dt="2023-01-16T14:16:30.563" v="26" actId="20577"/>
        <pc:sldMkLst>
          <pc:docMk/>
          <pc:sldMk cId="2846901679" sldId="256"/>
        </pc:sldMkLst>
        <pc:spChg chg="mod">
          <ac:chgData name="Roberto Gallardo" userId="49a044883f185952" providerId="LiveId" clId="{906130D0-A545-4215-AECB-F4EA0E0C1311}" dt="2023-01-16T14:16:30.563" v="26" actId="20577"/>
          <ac:spMkLst>
            <pc:docMk/>
            <pc:sldMk cId="2846901679" sldId="256"/>
            <ac:spMk id="7" creationId="{B1E0ABEC-554C-720A-2772-F0324C8E93CA}"/>
          </ac:spMkLst>
        </pc:spChg>
      </pc:sldChg>
      <pc:sldChg chg="mod">
        <pc:chgData name="Roberto Gallardo" userId="49a044883f185952" providerId="LiveId" clId="{906130D0-A545-4215-AECB-F4EA0E0C1311}" dt="2023-01-16T14:45:07.159" v="55" actId="27918"/>
        <pc:sldMkLst>
          <pc:docMk/>
          <pc:sldMk cId="3231157596" sldId="257"/>
        </pc:sldMkLst>
      </pc:sldChg>
      <pc:sldChg chg="mod">
        <pc:chgData name="Roberto Gallardo" userId="49a044883f185952" providerId="LiveId" clId="{906130D0-A545-4215-AECB-F4EA0E0C1311}" dt="2023-01-16T14:43:30.144" v="43" actId="27918"/>
        <pc:sldMkLst>
          <pc:docMk/>
          <pc:sldMk cId="3702837515" sldId="258"/>
        </pc:sldMkLst>
      </pc:sldChg>
      <pc:sldChg chg="mod">
        <pc:chgData name="Roberto Gallardo" userId="49a044883f185952" providerId="LiveId" clId="{906130D0-A545-4215-AECB-F4EA0E0C1311}" dt="2023-01-16T14:44:07.142" v="49" actId="27918"/>
        <pc:sldMkLst>
          <pc:docMk/>
          <pc:sldMk cId="2519083202" sldId="259"/>
        </pc:sldMkLst>
      </pc:sldChg>
      <pc:sldChg chg="mod">
        <pc:chgData name="Roberto Gallardo" userId="49a044883f185952" providerId="LiveId" clId="{906130D0-A545-4215-AECB-F4EA0E0C1311}" dt="2023-01-16T14:39:14.457" v="37" actId="27918"/>
        <pc:sldMkLst>
          <pc:docMk/>
          <pc:sldMk cId="3877078759" sldId="260"/>
        </pc:sldMkLst>
      </pc:sldChg>
      <pc:sldChg chg="mod">
        <pc:chgData name="Roberto Gallardo" userId="49a044883f185952" providerId="LiveId" clId="{906130D0-A545-4215-AECB-F4EA0E0C1311}" dt="2023-01-16T14:46:55.325" v="67" actId="27918"/>
        <pc:sldMkLst>
          <pc:docMk/>
          <pc:sldMk cId="1175010214" sldId="261"/>
        </pc:sldMkLst>
      </pc:sldChg>
      <pc:sldChg chg="addSp delSp modSp mod">
        <pc:chgData name="Roberto Gallardo" userId="49a044883f185952" providerId="LiveId" clId="{906130D0-A545-4215-AECB-F4EA0E0C1311}" dt="2023-01-16T14:49:39.994" v="77" actId="1076"/>
        <pc:sldMkLst>
          <pc:docMk/>
          <pc:sldMk cId="1418533539" sldId="271"/>
        </pc:sldMkLst>
        <pc:picChg chg="add mod">
          <ac:chgData name="Roberto Gallardo" userId="49a044883f185952" providerId="LiveId" clId="{906130D0-A545-4215-AECB-F4EA0E0C1311}" dt="2023-01-16T14:49:39.994" v="77" actId="1076"/>
          <ac:picMkLst>
            <pc:docMk/>
            <pc:sldMk cId="1418533539" sldId="271"/>
            <ac:picMk id="6" creationId="{FACE4D62-196F-A615-59EB-291A7142E480}"/>
          </ac:picMkLst>
        </pc:picChg>
        <pc:picChg chg="del">
          <ac:chgData name="Roberto Gallardo" userId="49a044883f185952" providerId="LiveId" clId="{906130D0-A545-4215-AECB-F4EA0E0C1311}" dt="2023-01-16T14:47:04.075" v="68" actId="478"/>
          <ac:picMkLst>
            <pc:docMk/>
            <pc:sldMk cId="1418533539" sldId="271"/>
            <ac:picMk id="9" creationId="{5E7800F7-9CC1-0036-BBE3-DF2C21CF61EC}"/>
          </ac:picMkLst>
        </pc:picChg>
      </pc:sldChg>
      <pc:sldChg chg="mod">
        <pc:chgData name="Roberto Gallardo" userId="49a044883f185952" providerId="LiveId" clId="{906130D0-A545-4215-AECB-F4EA0E0C1311}" dt="2023-01-16T14:45:57.073" v="61" actId="27918"/>
        <pc:sldMkLst>
          <pc:docMk/>
          <pc:sldMk cId="2653937722" sldId="272"/>
        </pc:sldMkLst>
      </pc:sldChg>
      <pc:sldChg chg="mod">
        <pc:chgData name="Roberto Gallardo" userId="49a044883f185952" providerId="LiveId" clId="{906130D0-A545-4215-AECB-F4EA0E0C1311}" dt="2023-01-16T15:20:36.115" v="398" actId="27918"/>
        <pc:sldMkLst>
          <pc:docMk/>
          <pc:sldMk cId="2076698419" sldId="273"/>
        </pc:sldMkLst>
      </pc:sldChg>
      <pc:sldChg chg="mod">
        <pc:chgData name="Roberto Gallardo" userId="49a044883f185952" providerId="LiveId" clId="{906130D0-A545-4215-AECB-F4EA0E0C1311}" dt="2023-01-16T15:22:16.504" v="422" actId="27918"/>
        <pc:sldMkLst>
          <pc:docMk/>
          <pc:sldMk cId="3802335161" sldId="274"/>
        </pc:sldMkLst>
      </pc:sldChg>
      <pc:sldChg chg="mod">
        <pc:chgData name="Roberto Gallardo" userId="49a044883f185952" providerId="LiveId" clId="{906130D0-A545-4215-AECB-F4EA0E0C1311}" dt="2023-01-16T15:22:55.673" v="428" actId="27918"/>
        <pc:sldMkLst>
          <pc:docMk/>
          <pc:sldMk cId="4292554322" sldId="275"/>
        </pc:sldMkLst>
      </pc:sldChg>
      <pc:sldChg chg="modSp mod">
        <pc:chgData name="Roberto Gallardo" userId="49a044883f185952" providerId="LiveId" clId="{906130D0-A545-4215-AECB-F4EA0E0C1311}" dt="2023-01-16T15:21:50.517" v="416" actId="14100"/>
        <pc:sldMkLst>
          <pc:docMk/>
          <pc:sldMk cId="513409896" sldId="276"/>
        </pc:sldMkLst>
        <pc:spChg chg="mod">
          <ac:chgData name="Roberto Gallardo" userId="49a044883f185952" providerId="LiveId" clId="{906130D0-A545-4215-AECB-F4EA0E0C1311}" dt="2023-01-16T15:21:43.420" v="414" actId="1076"/>
          <ac:spMkLst>
            <pc:docMk/>
            <pc:sldMk cId="513409896" sldId="276"/>
            <ac:spMk id="21" creationId="{9A68ADBE-AECC-EE60-7E94-3675B33E08AE}"/>
          </ac:spMkLst>
        </pc:spChg>
        <pc:cxnChg chg="mod">
          <ac:chgData name="Roberto Gallardo" userId="49a044883f185952" providerId="LiveId" clId="{906130D0-A545-4215-AECB-F4EA0E0C1311}" dt="2023-01-16T15:21:26.349" v="410" actId="1076"/>
          <ac:cxnSpMkLst>
            <pc:docMk/>
            <pc:sldMk cId="513409896" sldId="276"/>
            <ac:cxnSpMk id="22" creationId="{1B423FA0-E4B3-6570-929B-A9283D503787}"/>
          </ac:cxnSpMkLst>
        </pc:cxnChg>
        <pc:cxnChg chg="mod">
          <ac:chgData name="Roberto Gallardo" userId="49a044883f185952" providerId="LiveId" clId="{906130D0-A545-4215-AECB-F4EA0E0C1311}" dt="2023-01-16T15:21:34.733" v="412" actId="1076"/>
          <ac:cxnSpMkLst>
            <pc:docMk/>
            <pc:sldMk cId="513409896" sldId="276"/>
            <ac:cxnSpMk id="23" creationId="{D616797E-0044-3804-BA5A-23B8EB309CA5}"/>
          </ac:cxnSpMkLst>
        </pc:cxnChg>
        <pc:cxnChg chg="mod">
          <ac:chgData name="Roberto Gallardo" userId="49a044883f185952" providerId="LiveId" clId="{906130D0-A545-4215-AECB-F4EA0E0C1311}" dt="2023-01-16T15:21:38.413" v="413" actId="14100"/>
          <ac:cxnSpMkLst>
            <pc:docMk/>
            <pc:sldMk cId="513409896" sldId="276"/>
            <ac:cxnSpMk id="24" creationId="{20A6256E-6780-BAE0-B803-D02FE024579F}"/>
          </ac:cxnSpMkLst>
        </pc:cxnChg>
        <pc:cxnChg chg="mod">
          <ac:chgData name="Roberto Gallardo" userId="49a044883f185952" providerId="LiveId" clId="{906130D0-A545-4215-AECB-F4EA0E0C1311}" dt="2023-01-16T15:21:50.517" v="416" actId="14100"/>
          <ac:cxnSpMkLst>
            <pc:docMk/>
            <pc:sldMk cId="513409896" sldId="276"/>
            <ac:cxnSpMk id="25" creationId="{62B7492E-2C75-E0CD-947E-C582F412F7D7}"/>
          </ac:cxnSpMkLst>
        </pc:cxnChg>
      </pc:sldChg>
      <pc:sldChg chg="mod">
        <pc:chgData name="Roberto Gallardo" userId="49a044883f185952" providerId="LiveId" clId="{906130D0-A545-4215-AECB-F4EA0E0C1311}" dt="2023-01-16T15:20:10.779" v="393" actId="27918"/>
        <pc:sldMkLst>
          <pc:docMk/>
          <pc:sldMk cId="349244952" sldId="278"/>
        </pc:sldMkLst>
      </pc:sldChg>
      <pc:sldChg chg="addSp delSp modSp mod">
        <pc:chgData name="Roberto Gallardo" userId="49a044883f185952" providerId="LiveId" clId="{906130D0-A545-4215-AECB-F4EA0E0C1311}" dt="2023-01-16T15:02:15.116" v="168" actId="1076"/>
        <pc:sldMkLst>
          <pc:docMk/>
          <pc:sldMk cId="2124848710" sldId="281"/>
        </pc:sldMkLst>
        <pc:picChg chg="add mod">
          <ac:chgData name="Roberto Gallardo" userId="49a044883f185952" providerId="LiveId" clId="{906130D0-A545-4215-AECB-F4EA0E0C1311}" dt="2023-01-16T15:02:15.116" v="168" actId="1076"/>
          <ac:picMkLst>
            <pc:docMk/>
            <pc:sldMk cId="2124848710" sldId="281"/>
            <ac:picMk id="5" creationId="{FB27A213-C0B7-6BD5-7FED-23D21C6A08C4}"/>
          </ac:picMkLst>
        </pc:picChg>
        <pc:picChg chg="del">
          <ac:chgData name="Roberto Gallardo" userId="49a044883f185952" providerId="LiveId" clId="{906130D0-A545-4215-AECB-F4EA0E0C1311}" dt="2023-01-16T15:01:05.535" v="151" actId="478"/>
          <ac:picMkLst>
            <pc:docMk/>
            <pc:sldMk cId="2124848710" sldId="281"/>
            <ac:picMk id="8" creationId="{59CC8532-F288-791A-EFE6-B1A2416FC756}"/>
          </ac:picMkLst>
        </pc:picChg>
      </pc:sldChg>
      <pc:sldChg chg="addSp delSp modSp mod">
        <pc:chgData name="Roberto Gallardo" userId="49a044883f185952" providerId="LiveId" clId="{906130D0-A545-4215-AECB-F4EA0E0C1311}" dt="2023-01-16T15:04:02.192" v="187" actId="27918"/>
        <pc:sldMkLst>
          <pc:docMk/>
          <pc:sldMk cId="2028175529" sldId="282"/>
        </pc:sldMkLst>
        <pc:picChg chg="del">
          <ac:chgData name="Roberto Gallardo" userId="49a044883f185952" providerId="LiveId" clId="{906130D0-A545-4215-AECB-F4EA0E0C1311}" dt="2023-01-16T15:02:56.249" v="169" actId="478"/>
          <ac:picMkLst>
            <pc:docMk/>
            <pc:sldMk cId="2028175529" sldId="282"/>
            <ac:picMk id="5" creationId="{C32BC25F-56EF-64BD-519C-17FB66BF21A9}"/>
          </ac:picMkLst>
        </pc:picChg>
        <pc:picChg chg="add mod">
          <ac:chgData name="Roberto Gallardo" userId="49a044883f185952" providerId="LiveId" clId="{906130D0-A545-4215-AECB-F4EA0E0C1311}" dt="2023-01-16T15:03:22.649" v="178" actId="1076"/>
          <ac:picMkLst>
            <pc:docMk/>
            <pc:sldMk cId="2028175529" sldId="282"/>
            <ac:picMk id="8" creationId="{94976C04-A24B-F3C5-B9C0-27F15B00E593}"/>
          </ac:picMkLst>
        </pc:picChg>
      </pc:sldChg>
      <pc:sldChg chg="addSp delSp modSp mod">
        <pc:chgData name="Roberto Gallardo" userId="49a044883f185952" providerId="LiveId" clId="{906130D0-A545-4215-AECB-F4EA0E0C1311}" dt="2023-01-16T15:05:35.861" v="205" actId="1076"/>
        <pc:sldMkLst>
          <pc:docMk/>
          <pc:sldMk cId="1326517747" sldId="283"/>
        </pc:sldMkLst>
        <pc:picChg chg="del">
          <ac:chgData name="Roberto Gallardo" userId="49a044883f185952" providerId="LiveId" clId="{906130D0-A545-4215-AECB-F4EA0E0C1311}" dt="2023-01-16T15:04:20.835" v="188" actId="478"/>
          <ac:picMkLst>
            <pc:docMk/>
            <pc:sldMk cId="1326517747" sldId="283"/>
            <ac:picMk id="5" creationId="{F66195C6-879A-5A62-C42A-A2106922316E}"/>
          </ac:picMkLst>
        </pc:picChg>
        <pc:picChg chg="add mod">
          <ac:chgData name="Roberto Gallardo" userId="49a044883f185952" providerId="LiveId" clId="{906130D0-A545-4215-AECB-F4EA0E0C1311}" dt="2023-01-16T15:05:35.861" v="205" actId="1076"/>
          <ac:picMkLst>
            <pc:docMk/>
            <pc:sldMk cId="1326517747" sldId="283"/>
            <ac:picMk id="8" creationId="{033B3FE1-9C3F-6EF0-C136-37EF9E1F1D30}"/>
          </ac:picMkLst>
        </pc:picChg>
      </pc:sldChg>
      <pc:sldChg chg="addSp delSp modSp mod">
        <pc:chgData name="Roberto Gallardo" userId="49a044883f185952" providerId="LiveId" clId="{906130D0-A545-4215-AECB-F4EA0E0C1311}" dt="2023-01-16T15:06:58.832" v="223" actId="1076"/>
        <pc:sldMkLst>
          <pc:docMk/>
          <pc:sldMk cId="783739251" sldId="284"/>
        </pc:sldMkLst>
        <pc:picChg chg="del">
          <ac:chgData name="Roberto Gallardo" userId="49a044883f185952" providerId="LiveId" clId="{906130D0-A545-4215-AECB-F4EA0E0C1311}" dt="2023-01-16T15:05:55.937" v="206" actId="478"/>
          <ac:picMkLst>
            <pc:docMk/>
            <pc:sldMk cId="783739251" sldId="284"/>
            <ac:picMk id="5" creationId="{D266E385-4DFE-4CA1-3BA2-8FC8AB6D06B8}"/>
          </ac:picMkLst>
        </pc:picChg>
        <pc:picChg chg="add mod">
          <ac:chgData name="Roberto Gallardo" userId="49a044883f185952" providerId="LiveId" clId="{906130D0-A545-4215-AECB-F4EA0E0C1311}" dt="2023-01-16T15:06:58.832" v="223" actId="1076"/>
          <ac:picMkLst>
            <pc:docMk/>
            <pc:sldMk cId="783739251" sldId="284"/>
            <ac:picMk id="8" creationId="{D815B327-B2B1-C919-C7A3-309DB3D75C16}"/>
          </ac:picMkLst>
        </pc:picChg>
      </pc:sldChg>
      <pc:sldChg chg="addSp delSp modSp mod">
        <pc:chgData name="Roberto Gallardo" userId="49a044883f185952" providerId="LiveId" clId="{906130D0-A545-4215-AECB-F4EA0E0C1311}" dt="2023-01-16T15:08:36.917" v="249" actId="1076"/>
        <pc:sldMkLst>
          <pc:docMk/>
          <pc:sldMk cId="1676122233" sldId="285"/>
        </pc:sldMkLst>
        <pc:picChg chg="del">
          <ac:chgData name="Roberto Gallardo" userId="49a044883f185952" providerId="LiveId" clId="{906130D0-A545-4215-AECB-F4EA0E0C1311}" dt="2023-01-16T15:07:08.216" v="224" actId="478"/>
          <ac:picMkLst>
            <pc:docMk/>
            <pc:sldMk cId="1676122233" sldId="285"/>
            <ac:picMk id="5" creationId="{617C5CCF-BB89-47AC-8CDC-827301D32F80}"/>
          </ac:picMkLst>
        </pc:picChg>
        <pc:picChg chg="add mod">
          <ac:chgData name="Roberto Gallardo" userId="49a044883f185952" providerId="LiveId" clId="{906130D0-A545-4215-AECB-F4EA0E0C1311}" dt="2023-01-16T15:08:36.917" v="249" actId="1076"/>
          <ac:picMkLst>
            <pc:docMk/>
            <pc:sldMk cId="1676122233" sldId="285"/>
            <ac:picMk id="8" creationId="{904E4106-2EEF-7FB4-8C31-15755E7953DE}"/>
          </ac:picMkLst>
        </pc:picChg>
      </pc:sldChg>
      <pc:sldChg chg="addSp delSp modSp mod">
        <pc:chgData name="Roberto Gallardo" userId="49a044883f185952" providerId="LiveId" clId="{906130D0-A545-4215-AECB-F4EA0E0C1311}" dt="2023-01-16T15:09:44.433" v="266" actId="1076"/>
        <pc:sldMkLst>
          <pc:docMk/>
          <pc:sldMk cId="3100398757" sldId="286"/>
        </pc:sldMkLst>
        <pc:picChg chg="del">
          <ac:chgData name="Roberto Gallardo" userId="49a044883f185952" providerId="LiveId" clId="{906130D0-A545-4215-AECB-F4EA0E0C1311}" dt="2023-01-16T15:07:11.076" v="225" actId="478"/>
          <ac:picMkLst>
            <pc:docMk/>
            <pc:sldMk cId="3100398757" sldId="286"/>
            <ac:picMk id="5" creationId="{828FE092-91FC-0861-5279-E886D1A66A69}"/>
          </ac:picMkLst>
        </pc:picChg>
        <pc:picChg chg="add mod">
          <ac:chgData name="Roberto Gallardo" userId="49a044883f185952" providerId="LiveId" clId="{906130D0-A545-4215-AECB-F4EA0E0C1311}" dt="2023-01-16T15:09:44.433" v="266" actId="1076"/>
          <ac:picMkLst>
            <pc:docMk/>
            <pc:sldMk cId="3100398757" sldId="286"/>
            <ac:picMk id="8" creationId="{470680D7-D741-1B4E-D3AF-14882434BB99}"/>
          </ac:picMkLst>
        </pc:picChg>
      </pc:sldChg>
      <pc:sldChg chg="addSp delSp modSp mod">
        <pc:chgData name="Roberto Gallardo" userId="49a044883f185952" providerId="LiveId" clId="{906130D0-A545-4215-AECB-F4EA0E0C1311}" dt="2023-01-16T15:11:01.078" v="284" actId="1076"/>
        <pc:sldMkLst>
          <pc:docMk/>
          <pc:sldMk cId="1546475425" sldId="287"/>
        </pc:sldMkLst>
        <pc:picChg chg="del">
          <ac:chgData name="Roberto Gallardo" userId="49a044883f185952" providerId="LiveId" clId="{906130D0-A545-4215-AECB-F4EA0E0C1311}" dt="2023-01-16T15:07:13.070" v="226" actId="478"/>
          <ac:picMkLst>
            <pc:docMk/>
            <pc:sldMk cId="1546475425" sldId="287"/>
            <ac:picMk id="5" creationId="{B467A300-443B-2A89-6450-C65A5FD24F27}"/>
          </ac:picMkLst>
        </pc:picChg>
        <pc:picChg chg="add mod">
          <ac:chgData name="Roberto Gallardo" userId="49a044883f185952" providerId="LiveId" clId="{906130D0-A545-4215-AECB-F4EA0E0C1311}" dt="2023-01-16T15:11:01.078" v="284" actId="1076"/>
          <ac:picMkLst>
            <pc:docMk/>
            <pc:sldMk cId="1546475425" sldId="287"/>
            <ac:picMk id="8" creationId="{A9B8342A-9624-20BF-BA75-F4D3E782C107}"/>
          </ac:picMkLst>
        </pc:picChg>
      </pc:sldChg>
      <pc:sldChg chg="addSp delSp modSp mod">
        <pc:chgData name="Roberto Gallardo" userId="49a044883f185952" providerId="LiveId" clId="{906130D0-A545-4215-AECB-F4EA0E0C1311}" dt="2023-01-16T15:13:34.448" v="319" actId="1076"/>
        <pc:sldMkLst>
          <pc:docMk/>
          <pc:sldMk cId="1380517306" sldId="288"/>
        </pc:sldMkLst>
        <pc:picChg chg="del">
          <ac:chgData name="Roberto Gallardo" userId="49a044883f185952" providerId="LiveId" clId="{906130D0-A545-4215-AECB-F4EA0E0C1311}" dt="2023-01-16T15:07:16.216" v="228" actId="478"/>
          <ac:picMkLst>
            <pc:docMk/>
            <pc:sldMk cId="1380517306" sldId="288"/>
            <ac:picMk id="5" creationId="{EC37CC93-4D82-B5A6-40D1-21ADAC23DE0F}"/>
          </ac:picMkLst>
        </pc:picChg>
        <pc:picChg chg="add mod">
          <ac:chgData name="Roberto Gallardo" userId="49a044883f185952" providerId="LiveId" clId="{906130D0-A545-4215-AECB-F4EA0E0C1311}" dt="2023-01-16T15:13:34.448" v="319" actId="1076"/>
          <ac:picMkLst>
            <pc:docMk/>
            <pc:sldMk cId="1380517306" sldId="288"/>
            <ac:picMk id="8" creationId="{AE4C90AF-5FA5-4B57-6616-1799974E20BA}"/>
          </ac:picMkLst>
        </pc:picChg>
      </pc:sldChg>
      <pc:sldChg chg="addSp delSp modSp mod">
        <pc:chgData name="Roberto Gallardo" userId="49a044883f185952" providerId="LiveId" clId="{906130D0-A545-4215-AECB-F4EA0E0C1311}" dt="2023-01-16T15:14:40.916" v="336" actId="1076"/>
        <pc:sldMkLst>
          <pc:docMk/>
          <pc:sldMk cId="1388671151" sldId="289"/>
        </pc:sldMkLst>
        <pc:picChg chg="del">
          <ac:chgData name="Roberto Gallardo" userId="49a044883f185952" providerId="LiveId" clId="{906130D0-A545-4215-AECB-F4EA0E0C1311}" dt="2023-01-16T15:07:17.669" v="229" actId="478"/>
          <ac:picMkLst>
            <pc:docMk/>
            <pc:sldMk cId="1388671151" sldId="289"/>
            <ac:picMk id="5" creationId="{277FFAB3-CF3A-2E34-ED77-74E8C912755E}"/>
          </ac:picMkLst>
        </pc:picChg>
        <pc:picChg chg="add mod">
          <ac:chgData name="Roberto Gallardo" userId="49a044883f185952" providerId="LiveId" clId="{906130D0-A545-4215-AECB-F4EA0E0C1311}" dt="2023-01-16T15:14:40.916" v="336" actId="1076"/>
          <ac:picMkLst>
            <pc:docMk/>
            <pc:sldMk cId="1388671151" sldId="289"/>
            <ac:picMk id="8" creationId="{A72E2CDE-182F-1AA1-C01B-EDD0B9EE364C}"/>
          </ac:picMkLst>
        </pc:picChg>
      </pc:sldChg>
      <pc:sldChg chg="addSp delSp modSp mod">
        <pc:chgData name="Roberto Gallardo" userId="49a044883f185952" providerId="LiveId" clId="{906130D0-A545-4215-AECB-F4EA0E0C1311}" dt="2023-01-16T15:18:10.413" v="372" actId="1076"/>
        <pc:sldMkLst>
          <pc:docMk/>
          <pc:sldMk cId="2355376039" sldId="290"/>
        </pc:sldMkLst>
        <pc:picChg chg="add mod">
          <ac:chgData name="Roberto Gallardo" userId="49a044883f185952" providerId="LiveId" clId="{906130D0-A545-4215-AECB-F4EA0E0C1311}" dt="2023-01-16T15:18:10.413" v="372" actId="1076"/>
          <ac:picMkLst>
            <pc:docMk/>
            <pc:sldMk cId="2355376039" sldId="290"/>
            <ac:picMk id="8" creationId="{D6D3637F-15B1-7D14-C40B-AA2B5BBEAE9C}"/>
          </ac:picMkLst>
        </pc:picChg>
        <pc:picChg chg="del">
          <ac:chgData name="Roberto Gallardo" userId="49a044883f185952" providerId="LiveId" clId="{906130D0-A545-4215-AECB-F4EA0E0C1311}" dt="2023-01-16T15:07:20.835" v="231" actId="478"/>
          <ac:picMkLst>
            <pc:docMk/>
            <pc:sldMk cId="2355376039" sldId="290"/>
            <ac:picMk id="9" creationId="{5D042F5E-769F-0295-794B-C2C5B4C383CA}"/>
          </ac:picMkLst>
        </pc:picChg>
      </pc:sldChg>
      <pc:sldChg chg="addSp delSp modSp mod">
        <pc:chgData name="Roberto Gallardo" userId="49a044883f185952" providerId="LiveId" clId="{906130D0-A545-4215-AECB-F4EA0E0C1311}" dt="2023-01-16T15:19:13.953" v="389" actId="1076"/>
        <pc:sldMkLst>
          <pc:docMk/>
          <pc:sldMk cId="3757257295" sldId="291"/>
        </pc:sldMkLst>
        <pc:picChg chg="del">
          <ac:chgData name="Roberto Gallardo" userId="49a044883f185952" providerId="LiveId" clId="{906130D0-A545-4215-AECB-F4EA0E0C1311}" dt="2023-01-16T15:07:22.227" v="232" actId="478"/>
          <ac:picMkLst>
            <pc:docMk/>
            <pc:sldMk cId="3757257295" sldId="291"/>
            <ac:picMk id="7" creationId="{D0056C1A-1D3E-01C7-5208-26577D1147CF}"/>
          </ac:picMkLst>
        </pc:picChg>
        <pc:picChg chg="add mod">
          <ac:chgData name="Roberto Gallardo" userId="49a044883f185952" providerId="LiveId" clId="{906130D0-A545-4215-AECB-F4EA0E0C1311}" dt="2023-01-16T15:19:13.953" v="389" actId="1076"/>
          <ac:picMkLst>
            <pc:docMk/>
            <pc:sldMk cId="3757257295" sldId="291"/>
            <ac:picMk id="8" creationId="{156AEE47-CC26-3634-78D8-8C1608170444}"/>
          </ac:picMkLst>
        </pc:picChg>
      </pc:sldChg>
      <pc:sldChg chg="addSp delSp modSp mod">
        <pc:chgData name="Roberto Gallardo" userId="49a044883f185952" providerId="LiveId" clId="{906130D0-A545-4215-AECB-F4EA0E0C1311}" dt="2023-01-16T15:12:17.229" v="302" actId="1076"/>
        <pc:sldMkLst>
          <pc:docMk/>
          <pc:sldMk cId="1259856727" sldId="292"/>
        </pc:sldMkLst>
        <pc:picChg chg="del">
          <ac:chgData name="Roberto Gallardo" userId="49a044883f185952" providerId="LiveId" clId="{906130D0-A545-4215-AECB-F4EA0E0C1311}" dt="2023-01-16T15:07:14.661" v="227" actId="478"/>
          <ac:picMkLst>
            <pc:docMk/>
            <pc:sldMk cId="1259856727" sldId="292"/>
            <ac:picMk id="5" creationId="{80C86FF7-A14F-877B-297D-2CCC5D131F67}"/>
          </ac:picMkLst>
        </pc:picChg>
        <pc:picChg chg="add mod">
          <ac:chgData name="Roberto Gallardo" userId="49a044883f185952" providerId="LiveId" clId="{906130D0-A545-4215-AECB-F4EA0E0C1311}" dt="2023-01-16T15:12:17.229" v="302" actId="1076"/>
          <ac:picMkLst>
            <pc:docMk/>
            <pc:sldMk cId="1259856727" sldId="292"/>
            <ac:picMk id="8" creationId="{331580CE-AA9E-AFEC-4861-10F13955BFE5}"/>
          </ac:picMkLst>
        </pc:picChg>
      </pc:sldChg>
      <pc:sldChg chg="addSp delSp modSp mod">
        <pc:chgData name="Roberto Gallardo" userId="49a044883f185952" providerId="LiveId" clId="{906130D0-A545-4215-AECB-F4EA0E0C1311}" dt="2023-01-16T15:00:08.312" v="150" actId="1076"/>
        <pc:sldMkLst>
          <pc:docMk/>
          <pc:sldMk cId="3324519687" sldId="293"/>
        </pc:sldMkLst>
        <pc:picChg chg="del">
          <ac:chgData name="Roberto Gallardo" userId="49a044883f185952" providerId="LiveId" clId="{906130D0-A545-4215-AECB-F4EA0E0C1311}" dt="2023-01-16T14:58:56.551" v="129" actId="478"/>
          <ac:picMkLst>
            <pc:docMk/>
            <pc:sldMk cId="3324519687" sldId="293"/>
            <ac:picMk id="7" creationId="{D5FBAD5B-FABB-AF66-1C85-C036EEAF2535}"/>
          </ac:picMkLst>
        </pc:picChg>
        <pc:picChg chg="add mod">
          <ac:chgData name="Roberto Gallardo" userId="49a044883f185952" providerId="LiveId" clId="{906130D0-A545-4215-AECB-F4EA0E0C1311}" dt="2023-01-16T15:00:08.312" v="150" actId="1076"/>
          <ac:picMkLst>
            <pc:docMk/>
            <pc:sldMk cId="3324519687" sldId="293"/>
            <ac:picMk id="8" creationId="{FD1333ED-1131-3861-958C-4C42B9D3BC9F}"/>
          </ac:picMkLst>
        </pc:picChg>
      </pc:sldChg>
      <pc:sldChg chg="addSp delSp modSp mod">
        <pc:chgData name="Roberto Gallardo" userId="49a044883f185952" providerId="LiveId" clId="{906130D0-A545-4215-AECB-F4EA0E0C1311}" dt="2023-01-16T14:55:36.533" v="110" actId="1076"/>
        <pc:sldMkLst>
          <pc:docMk/>
          <pc:sldMk cId="3256182630" sldId="295"/>
        </pc:sldMkLst>
        <pc:picChg chg="add mod">
          <ac:chgData name="Roberto Gallardo" userId="49a044883f185952" providerId="LiveId" clId="{906130D0-A545-4215-AECB-F4EA0E0C1311}" dt="2023-01-16T14:55:36.533" v="110" actId="1076"/>
          <ac:picMkLst>
            <pc:docMk/>
            <pc:sldMk cId="3256182630" sldId="295"/>
            <ac:picMk id="6" creationId="{525C02B9-4D86-DE25-3429-FF01BD8E8E7E}"/>
          </ac:picMkLst>
        </pc:picChg>
        <pc:picChg chg="del">
          <ac:chgData name="Roberto Gallardo" userId="49a044883f185952" providerId="LiveId" clId="{906130D0-A545-4215-AECB-F4EA0E0C1311}" dt="2023-01-16T14:55:02.480" v="102" actId="478"/>
          <ac:picMkLst>
            <pc:docMk/>
            <pc:sldMk cId="3256182630" sldId="295"/>
            <ac:picMk id="10" creationId="{D1E71CBC-E82F-97AF-BC53-5CEA892CA5F4}"/>
          </ac:picMkLst>
        </pc:picChg>
      </pc:sldChg>
      <pc:sldChg chg="addSp delSp modSp mod">
        <pc:chgData name="Roberto Gallardo" userId="49a044883f185952" providerId="LiveId" clId="{906130D0-A545-4215-AECB-F4EA0E0C1311}" dt="2023-01-16T14:58:21.749" v="128" actId="1076"/>
        <pc:sldMkLst>
          <pc:docMk/>
          <pc:sldMk cId="4057156843" sldId="296"/>
        </pc:sldMkLst>
        <pc:picChg chg="del">
          <ac:chgData name="Roberto Gallardo" userId="49a044883f185952" providerId="LiveId" clId="{906130D0-A545-4215-AECB-F4EA0E0C1311}" dt="2023-01-16T14:57:09.028" v="111" actId="478"/>
          <ac:picMkLst>
            <pc:docMk/>
            <pc:sldMk cId="4057156843" sldId="296"/>
            <ac:picMk id="6" creationId="{23497DC1-23CC-E188-1CAB-0C7646F217F1}"/>
          </ac:picMkLst>
        </pc:picChg>
        <pc:picChg chg="add mod">
          <ac:chgData name="Roberto Gallardo" userId="49a044883f185952" providerId="LiveId" clId="{906130D0-A545-4215-AECB-F4EA0E0C1311}" dt="2023-01-16T14:58:21.749" v="128" actId="1076"/>
          <ac:picMkLst>
            <pc:docMk/>
            <pc:sldMk cId="4057156843" sldId="296"/>
            <ac:picMk id="7" creationId="{FF4602A0-2D1D-4AA7-AD4F-14D511613A60}"/>
          </ac:picMkLst>
        </pc:picChg>
      </pc:sldChg>
      <pc:sldChg chg="addSp delSp modSp mod">
        <pc:chgData name="Roberto Gallardo" userId="49a044883f185952" providerId="LiveId" clId="{906130D0-A545-4215-AECB-F4EA0E0C1311}" dt="2023-01-16T14:50:42.400" v="92" actId="1076"/>
        <pc:sldMkLst>
          <pc:docMk/>
          <pc:sldMk cId="2080110827" sldId="297"/>
        </pc:sldMkLst>
        <pc:picChg chg="del">
          <ac:chgData name="Roberto Gallardo" userId="49a044883f185952" providerId="LiveId" clId="{906130D0-A545-4215-AECB-F4EA0E0C1311}" dt="2023-01-16T14:50:23.055" v="85" actId="478"/>
          <ac:picMkLst>
            <pc:docMk/>
            <pc:sldMk cId="2080110827" sldId="297"/>
            <ac:picMk id="6" creationId="{C71CB705-CD41-D3E6-5F84-C7059E45847A}"/>
          </ac:picMkLst>
        </pc:picChg>
        <pc:picChg chg="add mod">
          <ac:chgData name="Roberto Gallardo" userId="49a044883f185952" providerId="LiveId" clId="{906130D0-A545-4215-AECB-F4EA0E0C1311}" dt="2023-01-16T14:50:42.400" v="92" actId="1076"/>
          <ac:picMkLst>
            <pc:docMk/>
            <pc:sldMk cId="2080110827" sldId="297"/>
            <ac:picMk id="7" creationId="{DB4F051A-9B70-B730-2642-966C496E35FA}"/>
          </ac:picMkLst>
        </pc:picChg>
      </pc:sldChg>
      <pc:sldChg chg="addSp delSp modSp mod">
        <pc:chgData name="Roberto Gallardo" userId="49a044883f185952" providerId="LiveId" clId="{906130D0-A545-4215-AECB-F4EA0E0C1311}" dt="2023-01-16T14:50:13.819" v="84" actId="1076"/>
        <pc:sldMkLst>
          <pc:docMk/>
          <pc:sldMk cId="1532666867" sldId="298"/>
        </pc:sldMkLst>
        <pc:picChg chg="add mod">
          <ac:chgData name="Roberto Gallardo" userId="49a044883f185952" providerId="LiveId" clId="{906130D0-A545-4215-AECB-F4EA0E0C1311}" dt="2023-01-16T14:50:13.819" v="84" actId="1076"/>
          <ac:picMkLst>
            <pc:docMk/>
            <pc:sldMk cId="1532666867" sldId="298"/>
            <ac:picMk id="6" creationId="{7B339876-341F-790C-BE75-F1E31A2A8E75}"/>
          </ac:picMkLst>
        </pc:picChg>
        <pc:picChg chg="del">
          <ac:chgData name="Roberto Gallardo" userId="49a044883f185952" providerId="LiveId" clId="{906130D0-A545-4215-AECB-F4EA0E0C1311}" dt="2023-01-16T14:49:45.623" v="78" actId="478"/>
          <ac:picMkLst>
            <pc:docMk/>
            <pc:sldMk cId="1532666867" sldId="298"/>
            <ac:picMk id="9" creationId="{6E966F0B-953B-8A85-694F-93EFD60E3B57}"/>
          </ac:picMkLst>
        </pc:picChg>
      </pc:sldChg>
      <pc:sldChg chg="addSp delSp modSp mod">
        <pc:chgData name="Roberto Gallardo" userId="49a044883f185952" providerId="LiveId" clId="{906130D0-A545-4215-AECB-F4EA0E0C1311}" dt="2023-01-16T15:16:36.089" v="355" actId="1076"/>
        <pc:sldMkLst>
          <pc:docMk/>
          <pc:sldMk cId="1951376777" sldId="299"/>
        </pc:sldMkLst>
        <pc:picChg chg="add mod">
          <ac:chgData name="Roberto Gallardo" userId="49a044883f185952" providerId="LiveId" clId="{906130D0-A545-4215-AECB-F4EA0E0C1311}" dt="2023-01-16T15:16:36.089" v="355" actId="1076"/>
          <ac:picMkLst>
            <pc:docMk/>
            <pc:sldMk cId="1951376777" sldId="299"/>
            <ac:picMk id="5" creationId="{38E0CDF2-020F-11EC-D7C3-3DA547AAEA6B}"/>
          </ac:picMkLst>
        </pc:picChg>
        <pc:picChg chg="del">
          <ac:chgData name="Roberto Gallardo" userId="49a044883f185952" providerId="LiveId" clId="{906130D0-A545-4215-AECB-F4EA0E0C1311}" dt="2023-01-16T15:07:19.029" v="230" actId="478"/>
          <ac:picMkLst>
            <pc:docMk/>
            <pc:sldMk cId="1951376777" sldId="299"/>
            <ac:picMk id="8" creationId="{2244EBF2-674F-0118-C752-EBDDBDF4065E}"/>
          </ac:picMkLst>
        </pc:picChg>
      </pc:sldChg>
    </pc:docChg>
  </pc:docChgLst>
  <pc:docChgLst>
    <pc:chgData name="Roberto Gallardo" userId="49a044883f185952" providerId="LiveId" clId="{3DF3007B-9C7A-4F8C-96B1-A9A15E037881}"/>
    <pc:docChg chg="undo custSel addSld delSld modSld">
      <pc:chgData name="Roberto Gallardo" userId="49a044883f185952" providerId="LiveId" clId="{3DF3007B-9C7A-4F8C-96B1-A9A15E037881}" dt="2023-01-15T18:21:09.806" v="1851"/>
      <pc:docMkLst>
        <pc:docMk/>
      </pc:docMkLst>
      <pc:sldChg chg="addSp delSp modSp mod">
        <pc:chgData name="Roberto Gallardo" userId="49a044883f185952" providerId="LiveId" clId="{3DF3007B-9C7A-4F8C-96B1-A9A15E037881}" dt="2023-01-15T18:21:09.806" v="1851"/>
        <pc:sldMkLst>
          <pc:docMk/>
          <pc:sldMk cId="2846901679" sldId="256"/>
        </pc:sldMkLst>
        <pc:spChg chg="mod">
          <ac:chgData name="Roberto Gallardo" userId="49a044883f185952" providerId="LiveId" clId="{3DF3007B-9C7A-4F8C-96B1-A9A15E037881}" dt="2023-01-15T18:20:55.858" v="1848" actId="20577"/>
          <ac:spMkLst>
            <pc:docMk/>
            <pc:sldMk cId="2846901679" sldId="256"/>
            <ac:spMk id="7" creationId="{B1E0ABEC-554C-720A-2772-F0324C8E93CA}"/>
          </ac:spMkLst>
        </pc:spChg>
        <pc:cxnChg chg="add mod">
          <ac:chgData name="Roberto Gallardo" userId="49a044883f185952" providerId="LiveId" clId="{3DF3007B-9C7A-4F8C-96B1-A9A15E037881}" dt="2023-01-15T18:21:09.806" v="1851"/>
          <ac:cxnSpMkLst>
            <pc:docMk/>
            <pc:sldMk cId="2846901679" sldId="256"/>
            <ac:cxnSpMk id="2" creationId="{CBBA2F7B-391D-2786-6ADC-926B8045D203}"/>
          </ac:cxnSpMkLst>
        </pc:cxnChg>
        <pc:cxnChg chg="del mod">
          <ac:chgData name="Roberto Gallardo" userId="49a044883f185952" providerId="LiveId" clId="{3DF3007B-9C7A-4F8C-96B1-A9A15E037881}" dt="2023-01-15T18:21:02.475" v="1850" actId="478"/>
          <ac:cxnSpMkLst>
            <pc:docMk/>
            <pc:sldMk cId="2846901679" sldId="256"/>
            <ac:cxnSpMk id="10" creationId="{13EFA7DF-2E74-6B37-435B-B8B810175C14}"/>
          </ac:cxnSpMkLst>
        </pc:cxnChg>
      </pc:sldChg>
      <pc:sldChg chg="mod">
        <pc:chgData name="Roberto Gallardo" userId="49a044883f185952" providerId="LiveId" clId="{3DF3007B-9C7A-4F8C-96B1-A9A15E037881}" dt="2023-01-15T17:38:47.156" v="1447" actId="27918"/>
        <pc:sldMkLst>
          <pc:docMk/>
          <pc:sldMk cId="3231157596" sldId="257"/>
        </pc:sldMkLst>
      </pc:sldChg>
      <pc:sldChg chg="modSp mod">
        <pc:chgData name="Roberto Gallardo" userId="49a044883f185952" providerId="LiveId" clId="{3DF3007B-9C7A-4F8C-96B1-A9A15E037881}" dt="2023-01-15T17:36:12.116" v="1435"/>
        <pc:sldMkLst>
          <pc:docMk/>
          <pc:sldMk cId="3702837515" sldId="258"/>
        </pc:sldMkLst>
        <pc:graphicFrameChg chg="mod">
          <ac:chgData name="Roberto Gallardo" userId="49a044883f185952" providerId="LiveId" clId="{3DF3007B-9C7A-4F8C-96B1-A9A15E037881}" dt="2023-01-15T17:36:12.116" v="1435"/>
          <ac:graphicFrameMkLst>
            <pc:docMk/>
            <pc:sldMk cId="3702837515" sldId="258"/>
            <ac:graphicFrameMk id="9" creationId="{A966EEC7-83EF-771C-E559-BAB55F5A621C}"/>
          </ac:graphicFrameMkLst>
        </pc:graphicFrameChg>
      </pc:sldChg>
      <pc:sldChg chg="mod">
        <pc:chgData name="Roberto Gallardo" userId="49a044883f185952" providerId="LiveId" clId="{3DF3007B-9C7A-4F8C-96B1-A9A15E037881}" dt="2023-01-15T17:38:04.295" v="1441" actId="27918"/>
        <pc:sldMkLst>
          <pc:docMk/>
          <pc:sldMk cId="2519083202" sldId="259"/>
        </pc:sldMkLst>
      </pc:sldChg>
      <pc:sldChg chg="mod">
        <pc:chgData name="Roberto Gallardo" userId="49a044883f185952" providerId="LiveId" clId="{3DF3007B-9C7A-4F8C-96B1-A9A15E037881}" dt="2023-01-15T17:35:15.434" v="1428" actId="27918"/>
        <pc:sldMkLst>
          <pc:docMk/>
          <pc:sldMk cId="3877078759" sldId="260"/>
        </pc:sldMkLst>
      </pc:sldChg>
      <pc:sldChg chg="mod">
        <pc:chgData name="Roberto Gallardo" userId="49a044883f185952" providerId="LiveId" clId="{3DF3007B-9C7A-4F8C-96B1-A9A15E037881}" dt="2023-01-15T17:40:27.466" v="1459" actId="27918"/>
        <pc:sldMkLst>
          <pc:docMk/>
          <pc:sldMk cId="1175010214" sldId="261"/>
        </pc:sldMkLst>
      </pc:sldChg>
      <pc:sldChg chg="addSp delSp modSp mod">
        <pc:chgData name="Roberto Gallardo" userId="49a044883f185952" providerId="LiveId" clId="{3DF3007B-9C7A-4F8C-96B1-A9A15E037881}" dt="2023-01-15T17:41:19.581" v="1469" actId="1076"/>
        <pc:sldMkLst>
          <pc:docMk/>
          <pc:sldMk cId="1418533539" sldId="271"/>
        </pc:sldMkLst>
        <pc:picChg chg="add del mod">
          <ac:chgData name="Roberto Gallardo" userId="49a044883f185952" providerId="LiveId" clId="{3DF3007B-9C7A-4F8C-96B1-A9A15E037881}" dt="2023-01-15T17:40:42.131" v="1460" actId="478"/>
          <ac:picMkLst>
            <pc:docMk/>
            <pc:sldMk cId="1418533539" sldId="271"/>
            <ac:picMk id="6" creationId="{AA324F2A-B126-1213-F38B-7FC8BB6EC3B1}"/>
          </ac:picMkLst>
        </pc:picChg>
        <pc:picChg chg="add mod">
          <ac:chgData name="Roberto Gallardo" userId="49a044883f185952" providerId="LiveId" clId="{3DF3007B-9C7A-4F8C-96B1-A9A15E037881}" dt="2023-01-15T17:41:19.581" v="1469" actId="1076"/>
          <ac:picMkLst>
            <pc:docMk/>
            <pc:sldMk cId="1418533539" sldId="271"/>
            <ac:picMk id="7" creationId="{2F15C3FC-B04E-31FA-10E5-0CC0CA675769}"/>
          </ac:picMkLst>
        </pc:picChg>
        <pc:picChg chg="del">
          <ac:chgData name="Roberto Gallardo" userId="49a044883f185952" providerId="LiveId" clId="{3DF3007B-9C7A-4F8C-96B1-A9A15E037881}" dt="2023-01-14T15:26:05.274" v="53" actId="478"/>
          <ac:picMkLst>
            <pc:docMk/>
            <pc:sldMk cId="1418533539" sldId="271"/>
            <ac:picMk id="10" creationId="{1B762686-DC65-9B90-CF68-660E6B2284BC}"/>
          </ac:picMkLst>
        </pc:picChg>
      </pc:sldChg>
      <pc:sldChg chg="mod">
        <pc:chgData name="Roberto Gallardo" userId="49a044883f185952" providerId="LiveId" clId="{3DF3007B-9C7A-4F8C-96B1-A9A15E037881}" dt="2023-01-15T17:39:32.744" v="1453" actId="27918"/>
        <pc:sldMkLst>
          <pc:docMk/>
          <pc:sldMk cId="2653937722" sldId="272"/>
        </pc:sldMkLst>
      </pc:sldChg>
      <pc:sldChg chg="modSp mod">
        <pc:chgData name="Roberto Gallardo" userId="49a044883f185952" providerId="LiveId" clId="{3DF3007B-9C7A-4F8C-96B1-A9A15E037881}" dt="2023-01-15T18:10:59.598" v="1790" actId="27918"/>
        <pc:sldMkLst>
          <pc:docMk/>
          <pc:sldMk cId="2076698419" sldId="273"/>
        </pc:sldMkLst>
        <pc:spChg chg="mod">
          <ac:chgData name="Roberto Gallardo" userId="49a044883f185952" providerId="LiveId" clId="{3DF3007B-9C7A-4F8C-96B1-A9A15E037881}" dt="2023-01-14T16:01:05.082" v="416" actId="20577"/>
          <ac:spMkLst>
            <pc:docMk/>
            <pc:sldMk cId="2076698419" sldId="273"/>
            <ac:spMk id="8" creationId="{40AF43CC-DD34-B66D-2100-C70E6AB3ED53}"/>
          </ac:spMkLst>
        </pc:spChg>
      </pc:sldChg>
      <pc:sldChg chg="mod">
        <pc:chgData name="Roberto Gallardo" userId="49a044883f185952" providerId="LiveId" clId="{3DF3007B-9C7A-4F8C-96B1-A9A15E037881}" dt="2023-01-15T18:12:41.531" v="1831" actId="27918"/>
        <pc:sldMkLst>
          <pc:docMk/>
          <pc:sldMk cId="3802335161" sldId="274"/>
        </pc:sldMkLst>
      </pc:sldChg>
      <pc:sldChg chg="mod">
        <pc:chgData name="Roberto Gallardo" userId="49a044883f185952" providerId="LiveId" clId="{3DF3007B-9C7A-4F8C-96B1-A9A15E037881}" dt="2023-01-15T18:13:31.205" v="1842" actId="27918"/>
        <pc:sldMkLst>
          <pc:docMk/>
          <pc:sldMk cId="4292554322" sldId="275"/>
        </pc:sldMkLst>
      </pc:sldChg>
      <pc:sldChg chg="addSp delSp modSp mod">
        <pc:chgData name="Roberto Gallardo" userId="49a044883f185952" providerId="LiveId" clId="{3DF3007B-9C7A-4F8C-96B1-A9A15E037881}" dt="2023-01-15T18:12:15.143" v="1827" actId="1036"/>
        <pc:sldMkLst>
          <pc:docMk/>
          <pc:sldMk cId="513409896" sldId="276"/>
        </pc:sldMkLst>
        <pc:spChg chg="add mod">
          <ac:chgData name="Roberto Gallardo" userId="49a044883f185952" providerId="LiveId" clId="{3DF3007B-9C7A-4F8C-96B1-A9A15E037881}" dt="2023-01-15T16:07:02.689" v="1387" actId="1076"/>
          <ac:spMkLst>
            <pc:docMk/>
            <pc:sldMk cId="513409896" sldId="276"/>
            <ac:spMk id="3" creationId="{AADBAC77-8094-925B-9C83-2132E5A4A84C}"/>
          </ac:spMkLst>
        </pc:spChg>
        <pc:spChg chg="add mod">
          <ac:chgData name="Roberto Gallardo" userId="49a044883f185952" providerId="LiveId" clId="{3DF3007B-9C7A-4F8C-96B1-A9A15E037881}" dt="2023-01-15T16:06:46.356" v="1384" actId="1076"/>
          <ac:spMkLst>
            <pc:docMk/>
            <pc:sldMk cId="513409896" sldId="276"/>
            <ac:spMk id="5" creationId="{EA0F984F-F15C-B54F-E4CE-75954416187D}"/>
          </ac:spMkLst>
        </pc:spChg>
        <pc:spChg chg="del">
          <ac:chgData name="Roberto Gallardo" userId="49a044883f185952" providerId="LiveId" clId="{3DF3007B-9C7A-4F8C-96B1-A9A15E037881}" dt="2023-01-14T16:00:57.620" v="411" actId="478"/>
          <ac:spMkLst>
            <pc:docMk/>
            <pc:sldMk cId="513409896" sldId="276"/>
            <ac:spMk id="8" creationId="{40AF43CC-DD34-B66D-2100-C70E6AB3ED53}"/>
          </ac:spMkLst>
        </pc:spChg>
        <pc:spChg chg="mod">
          <ac:chgData name="Roberto Gallardo" userId="49a044883f185952" providerId="LiveId" clId="{3DF3007B-9C7A-4F8C-96B1-A9A15E037881}" dt="2023-01-15T18:12:15.143" v="1827" actId="1036"/>
          <ac:spMkLst>
            <pc:docMk/>
            <pc:sldMk cId="513409896" sldId="276"/>
            <ac:spMk id="21" creationId="{9A68ADBE-AECC-EE60-7E94-3675B33E08AE}"/>
          </ac:spMkLst>
        </pc:spChg>
        <pc:spChg chg="del">
          <ac:chgData name="Roberto Gallardo" userId="49a044883f185952" providerId="LiveId" clId="{3DF3007B-9C7A-4F8C-96B1-A9A15E037881}" dt="2023-01-14T16:00:57.620" v="411" actId="478"/>
          <ac:spMkLst>
            <pc:docMk/>
            <pc:sldMk cId="513409896" sldId="276"/>
            <ac:spMk id="26" creationId="{CCDA5E37-63CE-CEAA-0EAC-3BD8E75B5BA0}"/>
          </ac:spMkLst>
        </pc:spChg>
        <pc:cxnChg chg="mod">
          <ac:chgData name="Roberto Gallardo" userId="49a044883f185952" providerId="LiveId" clId="{3DF3007B-9C7A-4F8C-96B1-A9A15E037881}" dt="2023-01-15T18:11:57.965" v="1814" actId="1035"/>
          <ac:cxnSpMkLst>
            <pc:docMk/>
            <pc:sldMk cId="513409896" sldId="276"/>
            <ac:cxnSpMk id="22" creationId="{1B423FA0-E4B3-6570-929B-A9283D503787}"/>
          </ac:cxnSpMkLst>
        </pc:cxnChg>
        <pc:cxnChg chg="mod">
          <ac:chgData name="Roberto Gallardo" userId="49a044883f185952" providerId="LiveId" clId="{3DF3007B-9C7A-4F8C-96B1-A9A15E037881}" dt="2023-01-15T18:12:05.647" v="1824" actId="1036"/>
          <ac:cxnSpMkLst>
            <pc:docMk/>
            <pc:sldMk cId="513409896" sldId="276"/>
            <ac:cxnSpMk id="23" creationId="{D616797E-0044-3804-BA5A-23B8EB309CA5}"/>
          </ac:cxnSpMkLst>
        </pc:cxnChg>
        <pc:cxnChg chg="mod">
          <ac:chgData name="Roberto Gallardo" userId="49a044883f185952" providerId="LiveId" clId="{3DF3007B-9C7A-4F8C-96B1-A9A15E037881}" dt="2023-01-15T18:12:09.254" v="1825" actId="14100"/>
          <ac:cxnSpMkLst>
            <pc:docMk/>
            <pc:sldMk cId="513409896" sldId="276"/>
            <ac:cxnSpMk id="24" creationId="{20A6256E-6780-BAE0-B803-D02FE024579F}"/>
          </ac:cxnSpMkLst>
        </pc:cxnChg>
        <pc:cxnChg chg="mod">
          <ac:chgData name="Roberto Gallardo" userId="49a044883f185952" providerId="LiveId" clId="{3DF3007B-9C7A-4F8C-96B1-A9A15E037881}" dt="2023-01-15T18:11:57.965" v="1814" actId="1035"/>
          <ac:cxnSpMkLst>
            <pc:docMk/>
            <pc:sldMk cId="513409896" sldId="276"/>
            <ac:cxnSpMk id="25" creationId="{62B7492E-2C75-E0CD-947E-C582F412F7D7}"/>
          </ac:cxnSpMkLst>
        </pc:cxnChg>
      </pc:sldChg>
      <pc:sldChg chg="modSp del mod">
        <pc:chgData name="Roberto Gallardo" userId="49a044883f185952" providerId="LiveId" clId="{3DF3007B-9C7A-4F8C-96B1-A9A15E037881}" dt="2023-01-15T16:51:15.895" v="1396" actId="47"/>
        <pc:sldMkLst>
          <pc:docMk/>
          <pc:sldMk cId="543148149" sldId="277"/>
        </pc:sldMkLst>
        <pc:spChg chg="mod">
          <ac:chgData name="Roberto Gallardo" userId="49a044883f185952" providerId="LiveId" clId="{3DF3007B-9C7A-4F8C-96B1-A9A15E037881}" dt="2023-01-15T15:50:18.722" v="964" actId="1076"/>
          <ac:spMkLst>
            <pc:docMk/>
            <pc:sldMk cId="543148149" sldId="277"/>
            <ac:spMk id="2" creationId="{C03B1400-5F72-D252-1DBE-EDCD6E63B07C}"/>
          </ac:spMkLst>
        </pc:spChg>
        <pc:spChg chg="mod">
          <ac:chgData name="Roberto Gallardo" userId="49a044883f185952" providerId="LiveId" clId="{3DF3007B-9C7A-4F8C-96B1-A9A15E037881}" dt="2023-01-15T16:37:25.668" v="1394" actId="113"/>
          <ac:spMkLst>
            <pc:docMk/>
            <pc:sldMk cId="543148149" sldId="277"/>
            <ac:spMk id="5" creationId="{6AE302AC-8931-4144-BE52-DD1A8BA82462}"/>
          </ac:spMkLst>
        </pc:spChg>
        <pc:spChg chg="mod">
          <ac:chgData name="Roberto Gallardo" userId="49a044883f185952" providerId="LiveId" clId="{3DF3007B-9C7A-4F8C-96B1-A9A15E037881}" dt="2023-01-15T16:04:28.598" v="1207" actId="20577"/>
          <ac:spMkLst>
            <pc:docMk/>
            <pc:sldMk cId="543148149" sldId="277"/>
            <ac:spMk id="9" creationId="{E362A98F-7DCD-C67C-23CE-1BE182A133B4}"/>
          </ac:spMkLst>
        </pc:spChg>
      </pc:sldChg>
      <pc:sldChg chg="modSp mod">
        <pc:chgData name="Roberto Gallardo" userId="49a044883f185952" providerId="LiveId" clId="{3DF3007B-9C7A-4F8C-96B1-A9A15E037881}" dt="2023-01-15T18:12:50.348" v="1836" actId="20577"/>
        <pc:sldMkLst>
          <pc:docMk/>
          <pc:sldMk cId="349244952" sldId="278"/>
        </pc:sldMkLst>
        <pc:spChg chg="mod">
          <ac:chgData name="Roberto Gallardo" userId="49a044883f185952" providerId="LiveId" clId="{3DF3007B-9C7A-4F8C-96B1-A9A15E037881}" dt="2023-01-15T18:12:50.348" v="1836" actId="20577"/>
          <ac:spMkLst>
            <pc:docMk/>
            <pc:sldMk cId="349244952" sldId="278"/>
            <ac:spMk id="2" creationId="{C03B1400-5F72-D252-1DBE-EDCD6E63B07C}"/>
          </ac:spMkLst>
        </pc:spChg>
      </pc:sldChg>
      <pc:sldChg chg="addSp delSp modSp mod">
        <pc:chgData name="Roberto Gallardo" userId="49a044883f185952" providerId="LiveId" clId="{3DF3007B-9C7A-4F8C-96B1-A9A15E037881}" dt="2023-01-15T17:52:03.259" v="1568" actId="1076"/>
        <pc:sldMkLst>
          <pc:docMk/>
          <pc:sldMk cId="2124848710" sldId="281"/>
        </pc:sldMkLst>
        <pc:picChg chg="del">
          <ac:chgData name="Roberto Gallardo" userId="49a044883f185952" providerId="LiveId" clId="{3DF3007B-9C7A-4F8C-96B1-A9A15E037881}" dt="2023-01-14T15:32:28.794" v="142" actId="478"/>
          <ac:picMkLst>
            <pc:docMk/>
            <pc:sldMk cId="2124848710" sldId="281"/>
            <ac:picMk id="5" creationId="{2A59AE6B-1B9E-0347-0422-DB514C73822C}"/>
          </ac:picMkLst>
        </pc:picChg>
        <pc:picChg chg="add mod">
          <ac:chgData name="Roberto Gallardo" userId="49a044883f185952" providerId="LiveId" clId="{3DF3007B-9C7A-4F8C-96B1-A9A15E037881}" dt="2023-01-15T17:52:03.259" v="1568" actId="1076"/>
          <ac:picMkLst>
            <pc:docMk/>
            <pc:sldMk cId="2124848710" sldId="281"/>
            <ac:picMk id="5" creationId="{556F29F2-6997-7A0D-E7B2-05855ADA3C54}"/>
          </ac:picMkLst>
        </pc:picChg>
        <pc:picChg chg="add del mod">
          <ac:chgData name="Roberto Gallardo" userId="49a044883f185952" providerId="LiveId" clId="{3DF3007B-9C7A-4F8C-96B1-A9A15E037881}" dt="2023-01-15T17:51:42.697" v="1559" actId="478"/>
          <ac:picMkLst>
            <pc:docMk/>
            <pc:sldMk cId="2124848710" sldId="281"/>
            <ac:picMk id="8" creationId="{B2C7F90E-076E-E7F4-6353-0557D09C4DB8}"/>
          </ac:picMkLst>
        </pc:picChg>
      </pc:sldChg>
      <pc:sldChg chg="addSp delSp modSp mod">
        <pc:chgData name="Roberto Gallardo" userId="49a044883f185952" providerId="LiveId" clId="{3DF3007B-9C7A-4F8C-96B1-A9A15E037881}" dt="2023-01-15T17:53:44.463" v="1586" actId="1076"/>
        <pc:sldMkLst>
          <pc:docMk/>
          <pc:sldMk cId="2028175529" sldId="282"/>
        </pc:sldMkLst>
        <pc:picChg chg="add del mod">
          <ac:chgData name="Roberto Gallardo" userId="49a044883f185952" providerId="LiveId" clId="{3DF3007B-9C7A-4F8C-96B1-A9A15E037881}" dt="2023-01-15T17:53:23.706" v="1578" actId="478"/>
          <ac:picMkLst>
            <pc:docMk/>
            <pc:sldMk cId="2028175529" sldId="282"/>
            <ac:picMk id="5" creationId="{260C7A0C-0951-FADF-30D5-25F9F86F74C3}"/>
          </ac:picMkLst>
        </pc:picChg>
        <pc:picChg chg="add mod">
          <ac:chgData name="Roberto Gallardo" userId="49a044883f185952" providerId="LiveId" clId="{3DF3007B-9C7A-4F8C-96B1-A9A15E037881}" dt="2023-01-15T17:53:44.463" v="1586" actId="1076"/>
          <ac:picMkLst>
            <pc:docMk/>
            <pc:sldMk cId="2028175529" sldId="282"/>
            <ac:picMk id="8" creationId="{41D36A96-EA9A-CCB2-E305-0B946C042E36}"/>
          </ac:picMkLst>
        </pc:picChg>
        <pc:picChg chg="del">
          <ac:chgData name="Roberto Gallardo" userId="49a044883f185952" providerId="LiveId" clId="{3DF3007B-9C7A-4F8C-96B1-A9A15E037881}" dt="2023-01-14T15:33:45.081" v="159" actId="478"/>
          <ac:picMkLst>
            <pc:docMk/>
            <pc:sldMk cId="2028175529" sldId="282"/>
            <ac:picMk id="8" creationId="{C96FB809-0226-5B71-8F0F-02E5A446EAFD}"/>
          </ac:picMkLst>
        </pc:picChg>
      </pc:sldChg>
      <pc:sldChg chg="addSp delSp modSp mod">
        <pc:chgData name="Roberto Gallardo" userId="49a044883f185952" providerId="LiveId" clId="{3DF3007B-9C7A-4F8C-96B1-A9A15E037881}" dt="2023-01-15T17:55:02.203" v="1603" actId="1076"/>
        <pc:sldMkLst>
          <pc:docMk/>
          <pc:sldMk cId="1326517747" sldId="283"/>
        </pc:sldMkLst>
        <pc:picChg chg="add del mod">
          <ac:chgData name="Roberto Gallardo" userId="49a044883f185952" providerId="LiveId" clId="{3DF3007B-9C7A-4F8C-96B1-A9A15E037881}" dt="2023-01-15T17:54:44.105" v="1596" actId="478"/>
          <ac:picMkLst>
            <pc:docMk/>
            <pc:sldMk cId="1326517747" sldId="283"/>
            <ac:picMk id="5" creationId="{D5820370-CCF1-A1EF-BE00-D7215C0A77FB}"/>
          </ac:picMkLst>
        </pc:picChg>
        <pc:picChg chg="add mod">
          <ac:chgData name="Roberto Gallardo" userId="49a044883f185952" providerId="LiveId" clId="{3DF3007B-9C7A-4F8C-96B1-A9A15E037881}" dt="2023-01-15T17:55:02.203" v="1603" actId="1076"/>
          <ac:picMkLst>
            <pc:docMk/>
            <pc:sldMk cId="1326517747" sldId="283"/>
            <ac:picMk id="8" creationId="{8EC4580D-8F08-40A8-A137-3545A4069AA9}"/>
          </ac:picMkLst>
        </pc:picChg>
        <pc:picChg chg="del">
          <ac:chgData name="Roberto Gallardo" userId="49a044883f185952" providerId="LiveId" clId="{3DF3007B-9C7A-4F8C-96B1-A9A15E037881}" dt="2023-01-14T15:35:02.381" v="177" actId="478"/>
          <ac:picMkLst>
            <pc:docMk/>
            <pc:sldMk cId="1326517747" sldId="283"/>
            <ac:picMk id="8" creationId="{9C745558-7BBD-B834-609E-ED244F71DA92}"/>
          </ac:picMkLst>
        </pc:picChg>
      </pc:sldChg>
      <pc:sldChg chg="addSp delSp modSp mod">
        <pc:chgData name="Roberto Gallardo" userId="49a044883f185952" providerId="LiveId" clId="{3DF3007B-9C7A-4F8C-96B1-A9A15E037881}" dt="2023-01-15T17:56:44.607" v="1620" actId="1076"/>
        <pc:sldMkLst>
          <pc:docMk/>
          <pc:sldMk cId="783739251" sldId="284"/>
        </pc:sldMkLst>
        <pc:picChg chg="add del mod">
          <ac:chgData name="Roberto Gallardo" userId="49a044883f185952" providerId="LiveId" clId="{3DF3007B-9C7A-4F8C-96B1-A9A15E037881}" dt="2023-01-15T17:56:26.034" v="1613" actId="478"/>
          <ac:picMkLst>
            <pc:docMk/>
            <pc:sldMk cId="783739251" sldId="284"/>
            <ac:picMk id="5" creationId="{51A0082B-6724-5BA2-83DB-9E6F050C4194}"/>
          </ac:picMkLst>
        </pc:picChg>
        <pc:picChg chg="del">
          <ac:chgData name="Roberto Gallardo" userId="49a044883f185952" providerId="LiveId" clId="{3DF3007B-9C7A-4F8C-96B1-A9A15E037881}" dt="2023-01-14T15:36:16.664" v="195" actId="478"/>
          <ac:picMkLst>
            <pc:docMk/>
            <pc:sldMk cId="783739251" sldId="284"/>
            <ac:picMk id="8" creationId="{5EB75393-923B-5E8A-A45C-412BB00B7CE6}"/>
          </ac:picMkLst>
        </pc:picChg>
        <pc:picChg chg="add mod">
          <ac:chgData name="Roberto Gallardo" userId="49a044883f185952" providerId="LiveId" clId="{3DF3007B-9C7A-4F8C-96B1-A9A15E037881}" dt="2023-01-15T17:56:44.607" v="1620" actId="1076"/>
          <ac:picMkLst>
            <pc:docMk/>
            <pc:sldMk cId="783739251" sldId="284"/>
            <ac:picMk id="8" creationId="{AFF3357F-A78F-9022-EB5F-1692DE80E88B}"/>
          </ac:picMkLst>
        </pc:picChg>
      </pc:sldChg>
      <pc:sldChg chg="addSp delSp modSp mod">
        <pc:chgData name="Roberto Gallardo" userId="49a044883f185952" providerId="LiveId" clId="{3DF3007B-9C7A-4F8C-96B1-A9A15E037881}" dt="2023-01-15T17:58:12.427" v="1638" actId="1076"/>
        <pc:sldMkLst>
          <pc:docMk/>
          <pc:sldMk cId="1676122233" sldId="285"/>
        </pc:sldMkLst>
        <pc:picChg chg="add del mod">
          <ac:chgData name="Roberto Gallardo" userId="49a044883f185952" providerId="LiveId" clId="{3DF3007B-9C7A-4F8C-96B1-A9A15E037881}" dt="2023-01-15T17:57:01.414" v="1621" actId="478"/>
          <ac:picMkLst>
            <pc:docMk/>
            <pc:sldMk cId="1676122233" sldId="285"/>
            <ac:picMk id="5" creationId="{530164EF-188D-6031-69E1-DAEB594BD715}"/>
          </ac:picMkLst>
        </pc:picChg>
        <pc:picChg chg="del">
          <ac:chgData name="Roberto Gallardo" userId="49a044883f185952" providerId="LiveId" clId="{3DF3007B-9C7A-4F8C-96B1-A9A15E037881}" dt="2023-01-14T15:37:37.897" v="213" actId="478"/>
          <ac:picMkLst>
            <pc:docMk/>
            <pc:sldMk cId="1676122233" sldId="285"/>
            <ac:picMk id="8" creationId="{48B1E2F8-C8FE-C52D-F7C0-EE1A726B9349}"/>
          </ac:picMkLst>
        </pc:picChg>
        <pc:picChg chg="add mod">
          <ac:chgData name="Roberto Gallardo" userId="49a044883f185952" providerId="LiveId" clId="{3DF3007B-9C7A-4F8C-96B1-A9A15E037881}" dt="2023-01-15T17:58:12.427" v="1638" actId="1076"/>
          <ac:picMkLst>
            <pc:docMk/>
            <pc:sldMk cId="1676122233" sldId="285"/>
            <ac:picMk id="8" creationId="{BB4A4BAA-6F00-6508-3C3D-2A227BD886F7}"/>
          </ac:picMkLst>
        </pc:picChg>
      </pc:sldChg>
      <pc:sldChg chg="addSp delSp modSp mod">
        <pc:chgData name="Roberto Gallardo" userId="49a044883f185952" providerId="LiveId" clId="{3DF3007B-9C7A-4F8C-96B1-A9A15E037881}" dt="2023-01-15T17:59:19.107" v="1655" actId="1076"/>
        <pc:sldMkLst>
          <pc:docMk/>
          <pc:sldMk cId="3100398757" sldId="286"/>
        </pc:sldMkLst>
        <pc:picChg chg="add del mod">
          <ac:chgData name="Roberto Gallardo" userId="49a044883f185952" providerId="LiveId" clId="{3DF3007B-9C7A-4F8C-96B1-A9A15E037881}" dt="2023-01-15T17:58:17.784" v="1639" actId="478"/>
          <ac:picMkLst>
            <pc:docMk/>
            <pc:sldMk cId="3100398757" sldId="286"/>
            <ac:picMk id="5" creationId="{81384F42-FB82-8586-B860-364340637A94}"/>
          </ac:picMkLst>
        </pc:picChg>
        <pc:picChg chg="del">
          <ac:chgData name="Roberto Gallardo" userId="49a044883f185952" providerId="LiveId" clId="{3DF3007B-9C7A-4F8C-96B1-A9A15E037881}" dt="2023-01-14T15:38:58.416" v="232" actId="478"/>
          <ac:picMkLst>
            <pc:docMk/>
            <pc:sldMk cId="3100398757" sldId="286"/>
            <ac:picMk id="8" creationId="{67EF222E-EF11-45B4-B78B-674626454C4E}"/>
          </ac:picMkLst>
        </pc:picChg>
        <pc:picChg chg="add mod">
          <ac:chgData name="Roberto Gallardo" userId="49a044883f185952" providerId="LiveId" clId="{3DF3007B-9C7A-4F8C-96B1-A9A15E037881}" dt="2023-01-15T17:59:19.107" v="1655" actId="1076"/>
          <ac:picMkLst>
            <pc:docMk/>
            <pc:sldMk cId="3100398757" sldId="286"/>
            <ac:picMk id="8" creationId="{FF8FB53C-6731-EAFB-623C-544513545D01}"/>
          </ac:picMkLst>
        </pc:picChg>
      </pc:sldChg>
      <pc:sldChg chg="addSp delSp modSp mod">
        <pc:chgData name="Roberto Gallardo" userId="49a044883f185952" providerId="LiveId" clId="{3DF3007B-9C7A-4F8C-96B1-A9A15E037881}" dt="2023-01-15T18:00:47.687" v="1678" actId="1076"/>
        <pc:sldMkLst>
          <pc:docMk/>
          <pc:sldMk cId="1546475425" sldId="287"/>
        </pc:sldMkLst>
        <pc:picChg chg="add del mod">
          <ac:chgData name="Roberto Gallardo" userId="49a044883f185952" providerId="LiveId" clId="{3DF3007B-9C7A-4F8C-96B1-A9A15E037881}" dt="2023-01-15T17:59:33.555" v="1656" actId="478"/>
          <ac:picMkLst>
            <pc:docMk/>
            <pc:sldMk cId="1546475425" sldId="287"/>
            <ac:picMk id="5" creationId="{9E9D876E-9747-F78D-891D-F8A446A515CF}"/>
          </ac:picMkLst>
        </pc:picChg>
        <pc:picChg chg="del">
          <ac:chgData name="Roberto Gallardo" userId="49a044883f185952" providerId="LiveId" clId="{3DF3007B-9C7A-4F8C-96B1-A9A15E037881}" dt="2023-01-14T15:40:15.179" v="251" actId="478"/>
          <ac:picMkLst>
            <pc:docMk/>
            <pc:sldMk cId="1546475425" sldId="287"/>
            <ac:picMk id="8" creationId="{46427D8E-669F-B7B7-9C33-5BCC9BE16612}"/>
          </ac:picMkLst>
        </pc:picChg>
        <pc:picChg chg="add mod">
          <ac:chgData name="Roberto Gallardo" userId="49a044883f185952" providerId="LiveId" clId="{3DF3007B-9C7A-4F8C-96B1-A9A15E037881}" dt="2023-01-15T18:00:47.687" v="1678" actId="1076"/>
          <ac:picMkLst>
            <pc:docMk/>
            <pc:sldMk cId="1546475425" sldId="287"/>
            <ac:picMk id="8" creationId="{E8D36DA1-46A0-22DA-0864-CA5E6CEFD003}"/>
          </ac:picMkLst>
        </pc:picChg>
      </pc:sldChg>
      <pc:sldChg chg="addSp delSp modSp mod">
        <pc:chgData name="Roberto Gallardo" userId="49a044883f185952" providerId="LiveId" clId="{3DF3007B-9C7A-4F8C-96B1-A9A15E037881}" dt="2023-01-15T18:03:27.904" v="1713" actId="1076"/>
        <pc:sldMkLst>
          <pc:docMk/>
          <pc:sldMk cId="1380517306" sldId="288"/>
        </pc:sldMkLst>
        <pc:picChg chg="add del mod">
          <ac:chgData name="Roberto Gallardo" userId="49a044883f185952" providerId="LiveId" clId="{3DF3007B-9C7A-4F8C-96B1-A9A15E037881}" dt="2023-01-15T17:59:38.176" v="1658" actId="478"/>
          <ac:picMkLst>
            <pc:docMk/>
            <pc:sldMk cId="1380517306" sldId="288"/>
            <ac:picMk id="5" creationId="{B56955DC-09E5-145F-D5EA-7A4828711AD9}"/>
          </ac:picMkLst>
        </pc:picChg>
        <pc:picChg chg="add mod">
          <ac:chgData name="Roberto Gallardo" userId="49a044883f185952" providerId="LiveId" clId="{3DF3007B-9C7A-4F8C-96B1-A9A15E037881}" dt="2023-01-15T18:03:27.904" v="1713" actId="1076"/>
          <ac:picMkLst>
            <pc:docMk/>
            <pc:sldMk cId="1380517306" sldId="288"/>
            <ac:picMk id="8" creationId="{559BF8BB-95F2-9A33-FBEF-6778F2E96135}"/>
          </ac:picMkLst>
        </pc:picChg>
        <pc:picChg chg="del">
          <ac:chgData name="Roberto Gallardo" userId="49a044883f185952" providerId="LiveId" clId="{3DF3007B-9C7A-4F8C-96B1-A9A15E037881}" dt="2023-01-14T15:42:43.161" v="285" actId="478"/>
          <ac:picMkLst>
            <pc:docMk/>
            <pc:sldMk cId="1380517306" sldId="288"/>
            <ac:picMk id="8" creationId="{DA143094-A860-740B-5598-937C43F51433}"/>
          </ac:picMkLst>
        </pc:picChg>
      </pc:sldChg>
      <pc:sldChg chg="addSp delSp modSp mod">
        <pc:chgData name="Roberto Gallardo" userId="49a044883f185952" providerId="LiveId" clId="{3DF3007B-9C7A-4F8C-96B1-A9A15E037881}" dt="2023-01-15T18:04:40.676" v="1730" actId="1076"/>
        <pc:sldMkLst>
          <pc:docMk/>
          <pc:sldMk cId="1388671151" sldId="289"/>
        </pc:sldMkLst>
        <pc:picChg chg="add del mod">
          <ac:chgData name="Roberto Gallardo" userId="49a044883f185952" providerId="LiveId" clId="{3DF3007B-9C7A-4F8C-96B1-A9A15E037881}" dt="2023-01-15T17:59:39.936" v="1659" actId="478"/>
          <ac:picMkLst>
            <pc:docMk/>
            <pc:sldMk cId="1388671151" sldId="289"/>
            <ac:picMk id="5" creationId="{D914859F-2C47-69E5-C8E5-153B565AD678}"/>
          </ac:picMkLst>
        </pc:picChg>
        <pc:picChg chg="add mod">
          <ac:chgData name="Roberto Gallardo" userId="49a044883f185952" providerId="LiveId" clId="{3DF3007B-9C7A-4F8C-96B1-A9A15E037881}" dt="2023-01-15T18:04:40.676" v="1730" actId="1076"/>
          <ac:picMkLst>
            <pc:docMk/>
            <pc:sldMk cId="1388671151" sldId="289"/>
            <ac:picMk id="8" creationId="{AD99A92E-6799-7050-B127-B74EC0B4E77B}"/>
          </ac:picMkLst>
        </pc:picChg>
        <pc:picChg chg="del">
          <ac:chgData name="Roberto Gallardo" userId="49a044883f185952" providerId="LiveId" clId="{3DF3007B-9C7A-4F8C-96B1-A9A15E037881}" dt="2023-01-14T15:43:56.907" v="302" actId="478"/>
          <ac:picMkLst>
            <pc:docMk/>
            <pc:sldMk cId="1388671151" sldId="289"/>
            <ac:picMk id="8" creationId="{AED980C4-47A1-C04E-25A3-CD82D8EDBD08}"/>
          </ac:picMkLst>
        </pc:picChg>
      </pc:sldChg>
      <pc:sldChg chg="addSp delSp modSp mod">
        <pc:chgData name="Roberto Gallardo" userId="49a044883f185952" providerId="LiveId" clId="{3DF3007B-9C7A-4F8C-96B1-A9A15E037881}" dt="2023-01-15T18:08:22.963" v="1764" actId="1076"/>
        <pc:sldMkLst>
          <pc:docMk/>
          <pc:sldMk cId="2355376039" sldId="290"/>
        </pc:sldMkLst>
        <pc:spChg chg="mod">
          <ac:chgData name="Roberto Gallardo" userId="49a044883f185952" providerId="LiveId" clId="{3DF3007B-9C7A-4F8C-96B1-A9A15E037881}" dt="2023-01-15T16:06:14.292" v="1288" actId="20577"/>
          <ac:spMkLst>
            <pc:docMk/>
            <pc:sldMk cId="2355376039" sldId="290"/>
            <ac:spMk id="5" creationId="{AD271B2F-57B1-DDF3-844C-402D53D67F69}"/>
          </ac:spMkLst>
        </pc:spChg>
        <pc:picChg chg="add mod">
          <ac:chgData name="Roberto Gallardo" userId="49a044883f185952" providerId="LiveId" clId="{3DF3007B-9C7A-4F8C-96B1-A9A15E037881}" dt="2023-01-15T18:08:22.963" v="1764" actId="1076"/>
          <ac:picMkLst>
            <pc:docMk/>
            <pc:sldMk cId="2355376039" sldId="290"/>
            <ac:picMk id="8" creationId="{5F4A4034-085C-189C-4191-CA7E16CDF515}"/>
          </ac:picMkLst>
        </pc:picChg>
        <pc:picChg chg="del">
          <ac:chgData name="Roberto Gallardo" userId="49a044883f185952" providerId="LiveId" clId="{3DF3007B-9C7A-4F8C-96B1-A9A15E037881}" dt="2023-01-14T15:44:57.801" v="319" actId="478"/>
          <ac:picMkLst>
            <pc:docMk/>
            <pc:sldMk cId="2355376039" sldId="290"/>
            <ac:picMk id="8" creationId="{691D88B5-CF63-BD38-2195-191C7A96E128}"/>
          </ac:picMkLst>
        </pc:picChg>
        <pc:picChg chg="add del mod">
          <ac:chgData name="Roberto Gallardo" userId="49a044883f185952" providerId="LiveId" clId="{3DF3007B-9C7A-4F8C-96B1-A9A15E037881}" dt="2023-01-15T17:59:43.310" v="1661" actId="478"/>
          <ac:picMkLst>
            <pc:docMk/>
            <pc:sldMk cId="2355376039" sldId="290"/>
            <ac:picMk id="9" creationId="{FBDED459-655E-6F8F-68B1-AF4AA58F1F84}"/>
          </ac:picMkLst>
        </pc:picChg>
      </pc:sldChg>
      <pc:sldChg chg="addSp delSp modSp mod">
        <pc:chgData name="Roberto Gallardo" userId="49a044883f185952" providerId="LiveId" clId="{3DF3007B-9C7A-4F8C-96B1-A9A15E037881}" dt="2023-01-15T18:09:46.518" v="1781" actId="1076"/>
        <pc:sldMkLst>
          <pc:docMk/>
          <pc:sldMk cId="3757257295" sldId="291"/>
        </pc:sldMkLst>
        <pc:spChg chg="mod">
          <ac:chgData name="Roberto Gallardo" userId="49a044883f185952" providerId="LiveId" clId="{3DF3007B-9C7A-4F8C-96B1-A9A15E037881}" dt="2023-01-15T16:13:27.698" v="1393"/>
          <ac:spMkLst>
            <pc:docMk/>
            <pc:sldMk cId="3757257295" sldId="291"/>
            <ac:spMk id="9" creationId="{7186EF87-E728-D13E-4ADB-699D1D4C3197}"/>
          </ac:spMkLst>
        </pc:spChg>
        <pc:graphicFrameChg chg="mod">
          <ac:chgData name="Roberto Gallardo" userId="49a044883f185952" providerId="LiveId" clId="{3DF3007B-9C7A-4F8C-96B1-A9A15E037881}" dt="2023-01-14T15:47:18.385" v="346"/>
          <ac:graphicFrameMkLst>
            <pc:docMk/>
            <pc:sldMk cId="3757257295" sldId="291"/>
            <ac:graphicFrameMk id="6" creationId="{CE45C3AF-C253-DC6A-54C2-FE3F8F710345}"/>
          </ac:graphicFrameMkLst>
        </pc:graphicFrameChg>
        <pc:picChg chg="add del mod">
          <ac:chgData name="Roberto Gallardo" userId="49a044883f185952" providerId="LiveId" clId="{3DF3007B-9C7A-4F8C-96B1-A9A15E037881}" dt="2023-01-15T17:59:44.959" v="1662" actId="478"/>
          <ac:picMkLst>
            <pc:docMk/>
            <pc:sldMk cId="3757257295" sldId="291"/>
            <ac:picMk id="7" creationId="{A8C2B9C6-FE6E-6FFB-23EF-BFF18FD3ADBC}"/>
          </ac:picMkLst>
        </pc:picChg>
        <pc:picChg chg="add mod">
          <ac:chgData name="Roberto Gallardo" userId="49a044883f185952" providerId="LiveId" clId="{3DF3007B-9C7A-4F8C-96B1-A9A15E037881}" dt="2023-01-15T18:09:46.518" v="1781" actId="1076"/>
          <ac:picMkLst>
            <pc:docMk/>
            <pc:sldMk cId="3757257295" sldId="291"/>
            <ac:picMk id="8" creationId="{07C42A41-36FA-8106-B54C-5AF528054D44}"/>
          </ac:picMkLst>
        </pc:picChg>
        <pc:picChg chg="del">
          <ac:chgData name="Roberto Gallardo" userId="49a044883f185952" providerId="LiveId" clId="{3DF3007B-9C7A-4F8C-96B1-A9A15E037881}" dt="2023-01-14T15:46:25.582" v="336" actId="478"/>
          <ac:picMkLst>
            <pc:docMk/>
            <pc:sldMk cId="3757257295" sldId="291"/>
            <ac:picMk id="8" creationId="{674086C1-C7A9-8285-AAEA-22247A0797F9}"/>
          </ac:picMkLst>
        </pc:picChg>
      </pc:sldChg>
      <pc:sldChg chg="addSp delSp modSp mod">
        <pc:chgData name="Roberto Gallardo" userId="49a044883f185952" providerId="LiveId" clId="{3DF3007B-9C7A-4F8C-96B1-A9A15E037881}" dt="2023-01-15T18:02:21.828" v="1696" actId="1076"/>
        <pc:sldMkLst>
          <pc:docMk/>
          <pc:sldMk cId="1259856727" sldId="292"/>
        </pc:sldMkLst>
        <pc:picChg chg="add del mod">
          <ac:chgData name="Roberto Gallardo" userId="49a044883f185952" providerId="LiveId" clId="{3DF3007B-9C7A-4F8C-96B1-A9A15E037881}" dt="2023-01-15T17:59:36.244" v="1657" actId="478"/>
          <ac:picMkLst>
            <pc:docMk/>
            <pc:sldMk cId="1259856727" sldId="292"/>
            <ac:picMk id="5" creationId="{B48EF86A-52C3-AB58-168F-16F2880765DB}"/>
          </ac:picMkLst>
        </pc:picChg>
        <pc:picChg chg="add mod">
          <ac:chgData name="Roberto Gallardo" userId="49a044883f185952" providerId="LiveId" clId="{3DF3007B-9C7A-4F8C-96B1-A9A15E037881}" dt="2023-01-15T18:02:21.828" v="1696" actId="1076"/>
          <ac:picMkLst>
            <pc:docMk/>
            <pc:sldMk cId="1259856727" sldId="292"/>
            <ac:picMk id="8" creationId="{71DE8C41-2B1A-D2CC-5F7C-88BDADC1AA33}"/>
          </ac:picMkLst>
        </pc:picChg>
        <pc:picChg chg="del">
          <ac:chgData name="Roberto Gallardo" userId="49a044883f185952" providerId="LiveId" clId="{3DF3007B-9C7A-4F8C-96B1-A9A15E037881}" dt="2023-01-14T15:41:24.451" v="268" actId="478"/>
          <ac:picMkLst>
            <pc:docMk/>
            <pc:sldMk cId="1259856727" sldId="292"/>
            <ac:picMk id="8" creationId="{ACDBDE58-AC87-FD18-3F93-26923B735BD3}"/>
          </ac:picMkLst>
        </pc:picChg>
      </pc:sldChg>
      <pc:sldChg chg="addSp delSp modSp mod">
        <pc:chgData name="Roberto Gallardo" userId="49a044883f185952" providerId="LiveId" clId="{3DF3007B-9C7A-4F8C-96B1-A9A15E037881}" dt="2023-01-15T17:49:37.683" v="1547" actId="1076"/>
        <pc:sldMkLst>
          <pc:docMk/>
          <pc:sldMk cId="3324519687" sldId="293"/>
        </pc:sldMkLst>
        <pc:picChg chg="add del mod">
          <ac:chgData name="Roberto Gallardo" userId="49a044883f185952" providerId="LiveId" clId="{3DF3007B-9C7A-4F8C-96B1-A9A15E037881}" dt="2023-01-15T17:49:15.520" v="1540" actId="478"/>
          <ac:picMkLst>
            <pc:docMk/>
            <pc:sldMk cId="3324519687" sldId="293"/>
            <ac:picMk id="7" creationId="{A60F00B6-02AC-6AA9-3D46-B7D23CB693CF}"/>
          </ac:picMkLst>
        </pc:picChg>
        <pc:picChg chg="add mod">
          <ac:chgData name="Roberto Gallardo" userId="49a044883f185952" providerId="LiveId" clId="{3DF3007B-9C7A-4F8C-96B1-A9A15E037881}" dt="2023-01-15T17:49:37.683" v="1547" actId="1076"/>
          <ac:picMkLst>
            <pc:docMk/>
            <pc:sldMk cId="3324519687" sldId="293"/>
            <ac:picMk id="8" creationId="{957EE50D-AE79-EDE3-3BB4-E2DC7C8A4C39}"/>
          </ac:picMkLst>
        </pc:picChg>
        <pc:picChg chg="del">
          <ac:chgData name="Roberto Gallardo" userId="49a044883f185952" providerId="LiveId" clId="{3DF3007B-9C7A-4F8C-96B1-A9A15E037881}" dt="2023-01-14T15:30:56" v="124" actId="478"/>
          <ac:picMkLst>
            <pc:docMk/>
            <pc:sldMk cId="3324519687" sldId="293"/>
            <ac:picMk id="8" creationId="{EBF08018-13C5-6C09-EDA1-F15EE5AE8D0D}"/>
          </ac:picMkLst>
        </pc:picChg>
      </pc:sldChg>
      <pc:sldChg chg="addSp delSp modSp mod">
        <pc:chgData name="Roberto Gallardo" userId="49a044883f185952" providerId="LiveId" clId="{3DF3007B-9C7A-4F8C-96B1-A9A15E037881}" dt="2023-01-15T17:48:24.533" v="1530" actId="27918"/>
        <pc:sldMkLst>
          <pc:docMk/>
          <pc:sldMk cId="3256182630" sldId="295"/>
        </pc:sldMkLst>
        <pc:picChg chg="del">
          <ac:chgData name="Roberto Gallardo" userId="49a044883f185952" providerId="LiveId" clId="{3DF3007B-9C7A-4F8C-96B1-A9A15E037881}" dt="2023-01-14T15:28:56.714" v="96" actId="478"/>
          <ac:picMkLst>
            <pc:docMk/>
            <pc:sldMk cId="3256182630" sldId="295"/>
            <ac:picMk id="6" creationId="{1702842D-CEA8-22EA-EB94-B22A16AB6736}"/>
          </ac:picMkLst>
        </pc:picChg>
        <pc:picChg chg="add mod">
          <ac:chgData name="Roberto Gallardo" userId="49a044883f185952" providerId="LiveId" clId="{3DF3007B-9C7A-4F8C-96B1-A9A15E037881}" dt="2023-01-15T17:45:18.890" v="1505" actId="1076"/>
          <ac:picMkLst>
            <pc:docMk/>
            <pc:sldMk cId="3256182630" sldId="295"/>
            <ac:picMk id="6" creationId="{2A659626-F4CD-AFCD-0028-27FFEAEA821A}"/>
          </ac:picMkLst>
        </pc:picChg>
        <pc:picChg chg="add del mod">
          <ac:chgData name="Roberto Gallardo" userId="49a044883f185952" providerId="LiveId" clId="{3DF3007B-9C7A-4F8C-96B1-A9A15E037881}" dt="2023-01-15T17:44:59.707" v="1497" actId="478"/>
          <ac:picMkLst>
            <pc:docMk/>
            <pc:sldMk cId="3256182630" sldId="295"/>
            <ac:picMk id="7" creationId="{F5F485D3-05AE-5D7F-37DB-43ABCEBD3703}"/>
          </ac:picMkLst>
        </pc:picChg>
      </pc:sldChg>
      <pc:sldChg chg="addSp delSp modSp mod">
        <pc:chgData name="Roberto Gallardo" userId="49a044883f185952" providerId="LiveId" clId="{3DF3007B-9C7A-4F8C-96B1-A9A15E037881}" dt="2023-01-15T17:47:18.238" v="1528" actId="1076"/>
        <pc:sldMkLst>
          <pc:docMk/>
          <pc:sldMk cId="4057156843" sldId="296"/>
        </pc:sldMkLst>
        <pc:graphicFrameChg chg="add del mod">
          <ac:chgData name="Roberto Gallardo" userId="49a044883f185952" providerId="LiveId" clId="{3DF3007B-9C7A-4F8C-96B1-A9A15E037881}" dt="2023-01-15T17:46:02.535" v="1508"/>
          <ac:graphicFrameMkLst>
            <pc:docMk/>
            <pc:sldMk cId="4057156843" sldId="296"/>
            <ac:graphicFrameMk id="5" creationId="{10A80171-D705-01FE-0085-8A8684E550E6}"/>
          </ac:graphicFrameMkLst>
        </pc:graphicFrameChg>
        <pc:graphicFrameChg chg="add del mod">
          <ac:chgData name="Roberto Gallardo" userId="49a044883f185952" providerId="LiveId" clId="{3DF3007B-9C7A-4F8C-96B1-A9A15E037881}" dt="2023-01-15T17:46:03.200" v="1509" actId="478"/>
          <ac:graphicFrameMkLst>
            <pc:docMk/>
            <pc:sldMk cId="4057156843" sldId="296"/>
            <ac:graphicFrameMk id="8" creationId="{D3B2E8D2-9CCD-964A-5CD5-9F743C3CE109}"/>
          </ac:graphicFrameMkLst>
        </pc:graphicFrameChg>
        <pc:picChg chg="add del mod">
          <ac:chgData name="Roberto Gallardo" userId="49a044883f185952" providerId="LiveId" clId="{3DF3007B-9C7A-4F8C-96B1-A9A15E037881}" dt="2023-01-15T17:46:56.580" v="1520" actId="478"/>
          <ac:picMkLst>
            <pc:docMk/>
            <pc:sldMk cId="4057156843" sldId="296"/>
            <ac:picMk id="6" creationId="{C8B8A69D-FF68-B96E-56CB-FCCDC75BF626}"/>
          </ac:picMkLst>
        </pc:picChg>
        <pc:picChg chg="del">
          <ac:chgData name="Roberto Gallardo" userId="49a044883f185952" providerId="LiveId" clId="{3DF3007B-9C7A-4F8C-96B1-A9A15E037881}" dt="2023-01-14T15:29:36.791" v="106" actId="478"/>
          <ac:picMkLst>
            <pc:docMk/>
            <pc:sldMk cId="4057156843" sldId="296"/>
            <ac:picMk id="7" creationId="{03537EF1-AA28-12B3-A8B5-56716712F13E}"/>
          </ac:picMkLst>
        </pc:picChg>
        <pc:picChg chg="add mod">
          <ac:chgData name="Roberto Gallardo" userId="49a044883f185952" providerId="LiveId" clId="{3DF3007B-9C7A-4F8C-96B1-A9A15E037881}" dt="2023-01-15T17:47:18.238" v="1528" actId="1076"/>
          <ac:picMkLst>
            <pc:docMk/>
            <pc:sldMk cId="4057156843" sldId="296"/>
            <ac:picMk id="9" creationId="{83FEB5D9-D3E1-1718-9BA0-1E4E42CB2EAF}"/>
          </ac:picMkLst>
        </pc:picChg>
      </pc:sldChg>
      <pc:sldChg chg="addSp delSp modSp mod">
        <pc:chgData name="Roberto Gallardo" userId="49a044883f185952" providerId="LiveId" clId="{3DF3007B-9C7A-4F8C-96B1-A9A15E037881}" dt="2023-01-15T17:42:16.683" v="1485" actId="1076"/>
        <pc:sldMkLst>
          <pc:docMk/>
          <pc:sldMk cId="2080110827" sldId="297"/>
        </pc:sldMkLst>
        <pc:picChg chg="add del mod">
          <ac:chgData name="Roberto Gallardo" userId="49a044883f185952" providerId="LiveId" clId="{3DF3007B-9C7A-4F8C-96B1-A9A15E037881}" dt="2023-01-15T17:41:59.501" v="1478" actId="478"/>
          <ac:picMkLst>
            <pc:docMk/>
            <pc:sldMk cId="2080110827" sldId="297"/>
            <ac:picMk id="6" creationId="{1889EED2-D6E5-E4E3-73B3-31E3AF9615E2}"/>
          </ac:picMkLst>
        </pc:picChg>
        <pc:picChg chg="del">
          <ac:chgData name="Roberto Gallardo" userId="49a044883f185952" providerId="LiveId" clId="{3DF3007B-9C7A-4F8C-96B1-A9A15E037881}" dt="2023-01-14T15:27:08.617" v="75" actId="478"/>
          <ac:picMkLst>
            <pc:docMk/>
            <pc:sldMk cId="2080110827" sldId="297"/>
            <ac:picMk id="7" creationId="{0388A1BD-F495-CF38-451C-2DAAAE28522D}"/>
          </ac:picMkLst>
        </pc:picChg>
        <pc:picChg chg="add mod">
          <ac:chgData name="Roberto Gallardo" userId="49a044883f185952" providerId="LiveId" clId="{3DF3007B-9C7A-4F8C-96B1-A9A15E037881}" dt="2023-01-15T17:42:16.683" v="1485" actId="1076"/>
          <ac:picMkLst>
            <pc:docMk/>
            <pc:sldMk cId="2080110827" sldId="297"/>
            <ac:picMk id="7" creationId="{863FFA18-1A6E-FB1C-F203-A44B4B4AC4A9}"/>
          </ac:picMkLst>
        </pc:picChg>
      </pc:sldChg>
      <pc:sldChg chg="addSp delSp modSp mod">
        <pc:chgData name="Roberto Gallardo" userId="49a044883f185952" providerId="LiveId" clId="{3DF3007B-9C7A-4F8C-96B1-A9A15E037881}" dt="2023-01-15T17:41:49.226" v="1477" actId="1076"/>
        <pc:sldMkLst>
          <pc:docMk/>
          <pc:sldMk cId="1532666867" sldId="298"/>
        </pc:sldMkLst>
        <pc:picChg chg="add mod">
          <ac:chgData name="Roberto Gallardo" userId="49a044883f185952" providerId="LiveId" clId="{3DF3007B-9C7A-4F8C-96B1-A9A15E037881}" dt="2023-01-15T17:41:49.226" v="1477" actId="1076"/>
          <ac:picMkLst>
            <pc:docMk/>
            <pc:sldMk cId="1532666867" sldId="298"/>
            <ac:picMk id="6" creationId="{EF0D8426-CFCD-854A-A97D-207F512F8982}"/>
          </ac:picMkLst>
        </pc:picChg>
        <pc:picChg chg="del">
          <ac:chgData name="Roberto Gallardo" userId="49a044883f185952" providerId="LiveId" clId="{3DF3007B-9C7A-4F8C-96B1-A9A15E037881}" dt="2023-01-14T15:26:33.936" v="61" actId="478"/>
          <ac:picMkLst>
            <pc:docMk/>
            <pc:sldMk cId="1532666867" sldId="298"/>
            <ac:picMk id="6" creationId="{F1EBB4A8-83F5-668F-D12B-3E393E0C0F7B}"/>
          </ac:picMkLst>
        </pc:picChg>
        <pc:picChg chg="add del mod">
          <ac:chgData name="Roberto Gallardo" userId="49a044883f185952" providerId="LiveId" clId="{3DF3007B-9C7A-4F8C-96B1-A9A15E037881}" dt="2023-01-15T17:41:28.085" v="1470" actId="478"/>
          <ac:picMkLst>
            <pc:docMk/>
            <pc:sldMk cId="1532666867" sldId="298"/>
            <ac:picMk id="7" creationId="{EC553BCD-1BFE-BD14-331F-7EFEA6532C3B}"/>
          </ac:picMkLst>
        </pc:picChg>
      </pc:sldChg>
      <pc:sldChg chg="addSp delSp modSp add mod">
        <pc:chgData name="Roberto Gallardo" userId="49a044883f185952" providerId="LiveId" clId="{3DF3007B-9C7A-4F8C-96B1-A9A15E037881}" dt="2023-01-15T18:06:01.471" v="1747" actId="1076"/>
        <pc:sldMkLst>
          <pc:docMk/>
          <pc:sldMk cId="1951376777" sldId="299"/>
        </pc:sldMkLst>
        <pc:spChg chg="mod">
          <ac:chgData name="Roberto Gallardo" userId="49a044883f185952" providerId="LiveId" clId="{3DF3007B-9C7A-4F8C-96B1-A9A15E037881}" dt="2023-01-15T15:44:45.616" v="444" actId="20577"/>
          <ac:spMkLst>
            <pc:docMk/>
            <pc:sldMk cId="1951376777" sldId="299"/>
            <ac:spMk id="2" creationId="{C03B1400-5F72-D252-1DBE-EDCD6E63B07C}"/>
          </ac:spMkLst>
        </pc:spChg>
        <pc:spChg chg="mod">
          <ac:chgData name="Roberto Gallardo" userId="49a044883f185952" providerId="LiveId" clId="{3DF3007B-9C7A-4F8C-96B1-A9A15E037881}" dt="2023-01-15T16:13:08.523" v="1392" actId="20577"/>
          <ac:spMkLst>
            <pc:docMk/>
            <pc:sldMk cId="1951376777" sldId="299"/>
            <ac:spMk id="7" creationId="{51811D46-3545-CBB8-9C35-BAFF095496AA}"/>
          </ac:spMkLst>
        </pc:spChg>
        <pc:picChg chg="add mod">
          <ac:chgData name="Roberto Gallardo" userId="49a044883f185952" providerId="LiveId" clId="{3DF3007B-9C7A-4F8C-96B1-A9A15E037881}" dt="2023-01-15T18:06:01.471" v="1747" actId="1076"/>
          <ac:picMkLst>
            <pc:docMk/>
            <pc:sldMk cId="1951376777" sldId="299"/>
            <ac:picMk id="5" creationId="{3AF20E66-AA6C-0EBE-7285-94038E971285}"/>
          </ac:picMkLst>
        </pc:picChg>
        <pc:picChg chg="del">
          <ac:chgData name="Roberto Gallardo" userId="49a044883f185952" providerId="LiveId" clId="{3DF3007B-9C7A-4F8C-96B1-A9A15E037881}" dt="2023-01-15T15:44:51.439" v="445" actId="478"/>
          <ac:picMkLst>
            <pc:docMk/>
            <pc:sldMk cId="1951376777" sldId="299"/>
            <ac:picMk id="5" creationId="{D914859F-2C47-69E5-C8E5-153B565AD678}"/>
          </ac:picMkLst>
        </pc:picChg>
        <pc:picChg chg="add del mod">
          <ac:chgData name="Roberto Gallardo" userId="49a044883f185952" providerId="LiveId" clId="{3DF3007B-9C7A-4F8C-96B1-A9A15E037881}" dt="2023-01-15T17:59:41.911" v="1660" actId="478"/>
          <ac:picMkLst>
            <pc:docMk/>
            <pc:sldMk cId="1951376777" sldId="299"/>
            <ac:picMk id="8" creationId="{E81B59CA-9234-ED7C-9930-EBA794BB9820}"/>
          </ac:picMkLst>
        </pc:picChg>
      </pc:sldChg>
      <pc:sldChg chg="add">
        <pc:chgData name="Roberto Gallardo" userId="49a044883f185952" providerId="LiveId" clId="{3DF3007B-9C7A-4F8C-96B1-A9A15E037881}" dt="2023-01-15T16:51:13.264" v="1395"/>
        <pc:sldMkLst>
          <pc:docMk/>
          <pc:sldMk cId="230398305" sldId="301"/>
        </pc:sldMkLst>
      </pc:sldChg>
    </pc:docChg>
  </pc:docChgLst>
  <pc:docChgLst>
    <pc:chgData name="Roberto Gallardo" userId="49a044883f185952" providerId="LiveId" clId="{BB359BE9-0915-44F2-88A7-18D12F7F36EC}"/>
    <pc:docChg chg="custSel modSld">
      <pc:chgData name="Roberto Gallardo" userId="49a044883f185952" providerId="LiveId" clId="{BB359BE9-0915-44F2-88A7-18D12F7F36EC}" dt="2023-01-18T22:52:23.736" v="45" actId="478"/>
      <pc:docMkLst>
        <pc:docMk/>
      </pc:docMkLst>
      <pc:sldChg chg="modSp mod">
        <pc:chgData name="Roberto Gallardo" userId="49a044883f185952" providerId="LiveId" clId="{BB359BE9-0915-44F2-88A7-18D12F7F36EC}" dt="2023-01-18T22:51:41.226" v="26" actId="20577"/>
        <pc:sldMkLst>
          <pc:docMk/>
          <pc:sldMk cId="2846901679" sldId="256"/>
        </pc:sldMkLst>
        <pc:spChg chg="mod">
          <ac:chgData name="Roberto Gallardo" userId="49a044883f185952" providerId="LiveId" clId="{BB359BE9-0915-44F2-88A7-18D12F7F36EC}" dt="2023-01-18T22:51:41.226" v="26" actId="20577"/>
          <ac:spMkLst>
            <pc:docMk/>
            <pc:sldMk cId="2846901679" sldId="256"/>
            <ac:spMk id="7" creationId="{B1E0ABEC-554C-720A-2772-F0324C8E93CA}"/>
          </ac:spMkLst>
        </pc:spChg>
      </pc:sldChg>
      <pc:sldChg chg="delSp mod">
        <pc:chgData name="Roberto Gallardo" userId="49a044883f185952" providerId="LiveId" clId="{BB359BE9-0915-44F2-88A7-18D12F7F36EC}" dt="2023-01-18T22:51:51.155" v="27" actId="478"/>
        <pc:sldMkLst>
          <pc:docMk/>
          <pc:sldMk cId="1418533539" sldId="271"/>
        </pc:sldMkLst>
        <pc:picChg chg="del">
          <ac:chgData name="Roberto Gallardo" userId="49a044883f185952" providerId="LiveId" clId="{BB359BE9-0915-44F2-88A7-18D12F7F36EC}" dt="2023-01-18T22:51:51.155" v="27" actId="478"/>
          <ac:picMkLst>
            <pc:docMk/>
            <pc:sldMk cId="1418533539" sldId="271"/>
            <ac:picMk id="6" creationId="{5E57D8C0-63D8-5C1C-F50D-21A7F202C667}"/>
          </ac:picMkLst>
        </pc:picChg>
      </pc:sldChg>
      <pc:sldChg chg="delSp mod">
        <pc:chgData name="Roberto Gallardo" userId="49a044883f185952" providerId="LiveId" clId="{BB359BE9-0915-44F2-88A7-18D12F7F36EC}" dt="2023-01-18T22:52:01.882" v="33" actId="478"/>
        <pc:sldMkLst>
          <pc:docMk/>
          <pc:sldMk cId="2124848710" sldId="281"/>
        </pc:sldMkLst>
        <pc:picChg chg="del">
          <ac:chgData name="Roberto Gallardo" userId="49a044883f185952" providerId="LiveId" clId="{BB359BE9-0915-44F2-88A7-18D12F7F36EC}" dt="2023-01-18T22:52:01.882" v="33" actId="478"/>
          <ac:picMkLst>
            <pc:docMk/>
            <pc:sldMk cId="2124848710" sldId="281"/>
            <ac:picMk id="5" creationId="{9AA3C4F8-B46F-97EF-2908-ECF5028B173B}"/>
          </ac:picMkLst>
        </pc:picChg>
      </pc:sldChg>
      <pc:sldChg chg="delSp mod">
        <pc:chgData name="Roberto Gallardo" userId="49a044883f185952" providerId="LiveId" clId="{BB359BE9-0915-44F2-88A7-18D12F7F36EC}" dt="2023-01-18T22:52:03.289" v="34" actId="478"/>
        <pc:sldMkLst>
          <pc:docMk/>
          <pc:sldMk cId="2028175529" sldId="282"/>
        </pc:sldMkLst>
        <pc:picChg chg="del">
          <ac:chgData name="Roberto Gallardo" userId="49a044883f185952" providerId="LiveId" clId="{BB359BE9-0915-44F2-88A7-18D12F7F36EC}" dt="2023-01-18T22:52:03.289" v="34" actId="478"/>
          <ac:picMkLst>
            <pc:docMk/>
            <pc:sldMk cId="2028175529" sldId="282"/>
            <ac:picMk id="5" creationId="{630DFC5F-36A5-C702-BF63-7BF8421EE2DA}"/>
          </ac:picMkLst>
        </pc:picChg>
      </pc:sldChg>
      <pc:sldChg chg="delSp mod">
        <pc:chgData name="Roberto Gallardo" userId="49a044883f185952" providerId="LiveId" clId="{BB359BE9-0915-44F2-88A7-18D12F7F36EC}" dt="2023-01-18T22:52:04.761" v="35" actId="478"/>
        <pc:sldMkLst>
          <pc:docMk/>
          <pc:sldMk cId="1326517747" sldId="283"/>
        </pc:sldMkLst>
        <pc:picChg chg="del">
          <ac:chgData name="Roberto Gallardo" userId="49a044883f185952" providerId="LiveId" clId="{BB359BE9-0915-44F2-88A7-18D12F7F36EC}" dt="2023-01-18T22:52:04.761" v="35" actId="478"/>
          <ac:picMkLst>
            <pc:docMk/>
            <pc:sldMk cId="1326517747" sldId="283"/>
            <ac:picMk id="5" creationId="{F1D74F7C-6DBE-3F8E-57C9-38A7FA7C9F9F}"/>
          </ac:picMkLst>
        </pc:picChg>
      </pc:sldChg>
      <pc:sldChg chg="delSp mod">
        <pc:chgData name="Roberto Gallardo" userId="49a044883f185952" providerId="LiveId" clId="{BB359BE9-0915-44F2-88A7-18D12F7F36EC}" dt="2023-01-18T22:52:07.081" v="36" actId="478"/>
        <pc:sldMkLst>
          <pc:docMk/>
          <pc:sldMk cId="783739251" sldId="284"/>
        </pc:sldMkLst>
        <pc:picChg chg="del">
          <ac:chgData name="Roberto Gallardo" userId="49a044883f185952" providerId="LiveId" clId="{BB359BE9-0915-44F2-88A7-18D12F7F36EC}" dt="2023-01-18T22:52:07.081" v="36" actId="478"/>
          <ac:picMkLst>
            <pc:docMk/>
            <pc:sldMk cId="783739251" sldId="284"/>
            <ac:picMk id="5" creationId="{9D78E767-7FBF-77D3-E406-877864ACF9B1}"/>
          </ac:picMkLst>
        </pc:picChg>
      </pc:sldChg>
      <pc:sldChg chg="delSp mod">
        <pc:chgData name="Roberto Gallardo" userId="49a044883f185952" providerId="LiveId" clId="{BB359BE9-0915-44F2-88A7-18D12F7F36EC}" dt="2023-01-18T22:52:08.473" v="37" actId="478"/>
        <pc:sldMkLst>
          <pc:docMk/>
          <pc:sldMk cId="1676122233" sldId="285"/>
        </pc:sldMkLst>
        <pc:picChg chg="del">
          <ac:chgData name="Roberto Gallardo" userId="49a044883f185952" providerId="LiveId" clId="{BB359BE9-0915-44F2-88A7-18D12F7F36EC}" dt="2023-01-18T22:52:08.473" v="37" actId="478"/>
          <ac:picMkLst>
            <pc:docMk/>
            <pc:sldMk cId="1676122233" sldId="285"/>
            <ac:picMk id="5" creationId="{F3CBA22E-AAEE-A2AE-9C8A-FC327F5C329E}"/>
          </ac:picMkLst>
        </pc:picChg>
      </pc:sldChg>
      <pc:sldChg chg="delSp mod">
        <pc:chgData name="Roberto Gallardo" userId="49a044883f185952" providerId="LiveId" clId="{BB359BE9-0915-44F2-88A7-18D12F7F36EC}" dt="2023-01-18T22:52:10.456" v="38" actId="478"/>
        <pc:sldMkLst>
          <pc:docMk/>
          <pc:sldMk cId="3100398757" sldId="286"/>
        </pc:sldMkLst>
        <pc:picChg chg="del">
          <ac:chgData name="Roberto Gallardo" userId="49a044883f185952" providerId="LiveId" clId="{BB359BE9-0915-44F2-88A7-18D12F7F36EC}" dt="2023-01-18T22:52:10.456" v="38" actId="478"/>
          <ac:picMkLst>
            <pc:docMk/>
            <pc:sldMk cId="3100398757" sldId="286"/>
            <ac:picMk id="5" creationId="{C56D2148-63CF-B81D-EFB5-2B7F6219FF48}"/>
          </ac:picMkLst>
        </pc:picChg>
      </pc:sldChg>
      <pc:sldChg chg="delSp mod">
        <pc:chgData name="Roberto Gallardo" userId="49a044883f185952" providerId="LiveId" clId="{BB359BE9-0915-44F2-88A7-18D12F7F36EC}" dt="2023-01-18T22:52:11.899" v="39" actId="478"/>
        <pc:sldMkLst>
          <pc:docMk/>
          <pc:sldMk cId="1546475425" sldId="287"/>
        </pc:sldMkLst>
        <pc:picChg chg="del">
          <ac:chgData name="Roberto Gallardo" userId="49a044883f185952" providerId="LiveId" clId="{BB359BE9-0915-44F2-88A7-18D12F7F36EC}" dt="2023-01-18T22:52:11.899" v="39" actId="478"/>
          <ac:picMkLst>
            <pc:docMk/>
            <pc:sldMk cId="1546475425" sldId="287"/>
            <ac:picMk id="5" creationId="{91AC35FF-E3CE-C0BE-4BE6-A5EBB740DE3E}"/>
          </ac:picMkLst>
        </pc:picChg>
      </pc:sldChg>
      <pc:sldChg chg="delSp mod">
        <pc:chgData name="Roberto Gallardo" userId="49a044883f185952" providerId="LiveId" clId="{BB359BE9-0915-44F2-88A7-18D12F7F36EC}" dt="2023-01-18T22:52:17.481" v="42" actId="478"/>
        <pc:sldMkLst>
          <pc:docMk/>
          <pc:sldMk cId="1380517306" sldId="288"/>
        </pc:sldMkLst>
        <pc:picChg chg="del">
          <ac:chgData name="Roberto Gallardo" userId="49a044883f185952" providerId="LiveId" clId="{BB359BE9-0915-44F2-88A7-18D12F7F36EC}" dt="2023-01-18T22:52:17.481" v="42" actId="478"/>
          <ac:picMkLst>
            <pc:docMk/>
            <pc:sldMk cId="1380517306" sldId="288"/>
            <ac:picMk id="5" creationId="{1A910B78-8F56-95D5-FDBD-F6FA794165F5}"/>
          </ac:picMkLst>
        </pc:picChg>
      </pc:sldChg>
      <pc:sldChg chg="delSp mod">
        <pc:chgData name="Roberto Gallardo" userId="49a044883f185952" providerId="LiveId" clId="{BB359BE9-0915-44F2-88A7-18D12F7F36EC}" dt="2023-01-18T22:52:16.160" v="41" actId="478"/>
        <pc:sldMkLst>
          <pc:docMk/>
          <pc:sldMk cId="1388671151" sldId="289"/>
        </pc:sldMkLst>
        <pc:picChg chg="del">
          <ac:chgData name="Roberto Gallardo" userId="49a044883f185952" providerId="LiveId" clId="{BB359BE9-0915-44F2-88A7-18D12F7F36EC}" dt="2023-01-18T22:52:16.160" v="41" actId="478"/>
          <ac:picMkLst>
            <pc:docMk/>
            <pc:sldMk cId="1388671151" sldId="289"/>
            <ac:picMk id="5" creationId="{04AF074B-994E-CBCD-0ECE-850DA62911B6}"/>
          </ac:picMkLst>
        </pc:picChg>
      </pc:sldChg>
      <pc:sldChg chg="delSp mod">
        <pc:chgData name="Roberto Gallardo" userId="49a044883f185952" providerId="LiveId" clId="{BB359BE9-0915-44F2-88A7-18D12F7F36EC}" dt="2023-01-18T22:52:21.621" v="44" actId="478"/>
        <pc:sldMkLst>
          <pc:docMk/>
          <pc:sldMk cId="2355376039" sldId="290"/>
        </pc:sldMkLst>
        <pc:picChg chg="del">
          <ac:chgData name="Roberto Gallardo" userId="49a044883f185952" providerId="LiveId" clId="{BB359BE9-0915-44F2-88A7-18D12F7F36EC}" dt="2023-01-18T22:52:21.621" v="44" actId="478"/>
          <ac:picMkLst>
            <pc:docMk/>
            <pc:sldMk cId="2355376039" sldId="290"/>
            <ac:picMk id="8" creationId="{952305CB-4C88-1BD0-C98B-27CA96D89E63}"/>
          </ac:picMkLst>
        </pc:picChg>
      </pc:sldChg>
      <pc:sldChg chg="delSp mod">
        <pc:chgData name="Roberto Gallardo" userId="49a044883f185952" providerId="LiveId" clId="{BB359BE9-0915-44F2-88A7-18D12F7F36EC}" dt="2023-01-18T22:52:23.736" v="45" actId="478"/>
        <pc:sldMkLst>
          <pc:docMk/>
          <pc:sldMk cId="3757257295" sldId="291"/>
        </pc:sldMkLst>
        <pc:picChg chg="del">
          <ac:chgData name="Roberto Gallardo" userId="49a044883f185952" providerId="LiveId" clId="{BB359BE9-0915-44F2-88A7-18D12F7F36EC}" dt="2023-01-18T22:52:23.736" v="45" actId="478"/>
          <ac:picMkLst>
            <pc:docMk/>
            <pc:sldMk cId="3757257295" sldId="291"/>
            <ac:picMk id="7" creationId="{3ECDE44B-F43E-59BA-10CA-B1CFB754C45F}"/>
          </ac:picMkLst>
        </pc:picChg>
      </pc:sldChg>
      <pc:sldChg chg="delSp mod">
        <pc:chgData name="Roberto Gallardo" userId="49a044883f185952" providerId="LiveId" clId="{BB359BE9-0915-44F2-88A7-18D12F7F36EC}" dt="2023-01-18T22:52:14.233" v="40" actId="478"/>
        <pc:sldMkLst>
          <pc:docMk/>
          <pc:sldMk cId="1259856727" sldId="292"/>
        </pc:sldMkLst>
        <pc:picChg chg="del">
          <ac:chgData name="Roberto Gallardo" userId="49a044883f185952" providerId="LiveId" clId="{BB359BE9-0915-44F2-88A7-18D12F7F36EC}" dt="2023-01-18T22:52:14.233" v="40" actId="478"/>
          <ac:picMkLst>
            <pc:docMk/>
            <pc:sldMk cId="1259856727" sldId="292"/>
            <ac:picMk id="5" creationId="{E80F9BC2-F703-0171-D209-59D7869CA582}"/>
          </ac:picMkLst>
        </pc:picChg>
      </pc:sldChg>
      <pc:sldChg chg="delSp mod">
        <pc:chgData name="Roberto Gallardo" userId="49a044883f185952" providerId="LiveId" clId="{BB359BE9-0915-44F2-88A7-18D12F7F36EC}" dt="2023-01-18T22:51:59.752" v="32" actId="478"/>
        <pc:sldMkLst>
          <pc:docMk/>
          <pc:sldMk cId="3324519687" sldId="293"/>
        </pc:sldMkLst>
        <pc:picChg chg="del">
          <ac:chgData name="Roberto Gallardo" userId="49a044883f185952" providerId="LiveId" clId="{BB359BE9-0915-44F2-88A7-18D12F7F36EC}" dt="2023-01-18T22:51:59.752" v="32" actId="478"/>
          <ac:picMkLst>
            <pc:docMk/>
            <pc:sldMk cId="3324519687" sldId="293"/>
            <ac:picMk id="7" creationId="{A51781D8-667F-7226-0419-CE0D577FE304}"/>
          </ac:picMkLst>
        </pc:picChg>
      </pc:sldChg>
      <pc:sldChg chg="delSp mod">
        <pc:chgData name="Roberto Gallardo" userId="49a044883f185952" providerId="LiveId" clId="{BB359BE9-0915-44F2-88A7-18D12F7F36EC}" dt="2023-01-18T22:51:56.042" v="30" actId="478"/>
        <pc:sldMkLst>
          <pc:docMk/>
          <pc:sldMk cId="3256182630" sldId="295"/>
        </pc:sldMkLst>
        <pc:picChg chg="del">
          <ac:chgData name="Roberto Gallardo" userId="49a044883f185952" providerId="LiveId" clId="{BB359BE9-0915-44F2-88A7-18D12F7F36EC}" dt="2023-01-18T22:51:56.042" v="30" actId="478"/>
          <ac:picMkLst>
            <pc:docMk/>
            <pc:sldMk cId="3256182630" sldId="295"/>
            <ac:picMk id="11" creationId="{3DDB9173-C0A2-0FDE-CC31-20B9F49AD749}"/>
          </ac:picMkLst>
        </pc:picChg>
      </pc:sldChg>
      <pc:sldChg chg="delSp mod">
        <pc:chgData name="Roberto Gallardo" userId="49a044883f185952" providerId="LiveId" clId="{BB359BE9-0915-44F2-88A7-18D12F7F36EC}" dt="2023-01-18T22:51:57.449" v="31" actId="478"/>
        <pc:sldMkLst>
          <pc:docMk/>
          <pc:sldMk cId="4057156843" sldId="296"/>
        </pc:sldMkLst>
        <pc:picChg chg="del">
          <ac:chgData name="Roberto Gallardo" userId="49a044883f185952" providerId="LiveId" clId="{BB359BE9-0915-44F2-88A7-18D12F7F36EC}" dt="2023-01-18T22:51:57.449" v="31" actId="478"/>
          <ac:picMkLst>
            <pc:docMk/>
            <pc:sldMk cId="4057156843" sldId="296"/>
            <ac:picMk id="10" creationId="{0806E52E-78DF-6398-ECDC-6954DCDCCCD7}"/>
          </ac:picMkLst>
        </pc:picChg>
      </pc:sldChg>
      <pc:sldChg chg="delSp mod">
        <pc:chgData name="Roberto Gallardo" userId="49a044883f185952" providerId="LiveId" clId="{BB359BE9-0915-44F2-88A7-18D12F7F36EC}" dt="2023-01-18T22:51:53.905" v="29" actId="478"/>
        <pc:sldMkLst>
          <pc:docMk/>
          <pc:sldMk cId="2080110827" sldId="297"/>
        </pc:sldMkLst>
        <pc:picChg chg="del">
          <ac:chgData name="Roberto Gallardo" userId="49a044883f185952" providerId="LiveId" clId="{BB359BE9-0915-44F2-88A7-18D12F7F36EC}" dt="2023-01-18T22:51:53.905" v="29" actId="478"/>
          <ac:picMkLst>
            <pc:docMk/>
            <pc:sldMk cId="2080110827" sldId="297"/>
            <ac:picMk id="8" creationId="{129DB15C-6CAC-5DC4-EF99-93E21E349676}"/>
          </ac:picMkLst>
        </pc:picChg>
      </pc:sldChg>
      <pc:sldChg chg="delSp mod">
        <pc:chgData name="Roberto Gallardo" userId="49a044883f185952" providerId="LiveId" clId="{BB359BE9-0915-44F2-88A7-18D12F7F36EC}" dt="2023-01-18T22:51:52.417" v="28" actId="478"/>
        <pc:sldMkLst>
          <pc:docMk/>
          <pc:sldMk cId="1532666867" sldId="298"/>
        </pc:sldMkLst>
        <pc:picChg chg="del">
          <ac:chgData name="Roberto Gallardo" userId="49a044883f185952" providerId="LiveId" clId="{BB359BE9-0915-44F2-88A7-18D12F7F36EC}" dt="2023-01-18T22:51:52.417" v="28" actId="478"/>
          <ac:picMkLst>
            <pc:docMk/>
            <pc:sldMk cId="1532666867" sldId="298"/>
            <ac:picMk id="10" creationId="{D54607AD-0D88-D9E3-EA04-8EE55CEDD627}"/>
          </ac:picMkLst>
        </pc:picChg>
      </pc:sldChg>
      <pc:sldChg chg="delSp mod">
        <pc:chgData name="Roberto Gallardo" userId="49a044883f185952" providerId="LiveId" clId="{BB359BE9-0915-44F2-88A7-18D12F7F36EC}" dt="2023-01-18T22:52:19.576" v="43" actId="478"/>
        <pc:sldMkLst>
          <pc:docMk/>
          <pc:sldMk cId="1951376777" sldId="299"/>
        </pc:sldMkLst>
        <pc:picChg chg="del">
          <ac:chgData name="Roberto Gallardo" userId="49a044883f185952" providerId="LiveId" clId="{BB359BE9-0915-44F2-88A7-18D12F7F36EC}" dt="2023-01-18T22:52:19.576" v="43" actId="478"/>
          <ac:picMkLst>
            <pc:docMk/>
            <pc:sldMk cId="1951376777" sldId="299"/>
            <ac:picMk id="5" creationId="{5BE97C1C-30AF-C543-BFB0-E678155693A7}"/>
          </ac:picMkLst>
        </pc:picChg>
      </pc:sldChg>
    </pc:docChg>
  </pc:docChgLst>
  <pc:docChgLst>
    <pc:chgData name="Roberto Gallardo" userId="49a044883f185952" providerId="LiveId" clId="{1A9A5981-ADF0-4F53-90C3-26FE35B7311F}"/>
    <pc:docChg chg="modSld">
      <pc:chgData name="Roberto Gallardo" userId="49a044883f185952" providerId="LiveId" clId="{1A9A5981-ADF0-4F53-90C3-26FE35B7311F}" dt="2023-01-08T20:41:28.709" v="28" actId="27918"/>
      <pc:docMkLst>
        <pc:docMk/>
      </pc:docMkLst>
      <pc:sldChg chg="modSp mod">
        <pc:chgData name="Roberto Gallardo" userId="49a044883f185952" providerId="LiveId" clId="{1A9A5981-ADF0-4F53-90C3-26FE35B7311F}" dt="2023-01-08T20:40:35.111" v="22" actId="20577"/>
        <pc:sldMkLst>
          <pc:docMk/>
          <pc:sldMk cId="2846901679" sldId="256"/>
        </pc:sldMkLst>
        <pc:spChg chg="mod">
          <ac:chgData name="Roberto Gallardo" userId="49a044883f185952" providerId="LiveId" clId="{1A9A5981-ADF0-4F53-90C3-26FE35B7311F}" dt="2023-01-08T20:40:35.111" v="22" actId="20577"/>
          <ac:spMkLst>
            <pc:docMk/>
            <pc:sldMk cId="2846901679" sldId="256"/>
            <ac:spMk id="7" creationId="{B1E0ABEC-554C-720A-2772-F0324C8E93CA}"/>
          </ac:spMkLst>
        </pc:spChg>
      </pc:sldChg>
      <pc:sldChg chg="mod">
        <pc:chgData name="Roberto Gallardo" userId="49a044883f185952" providerId="LiveId" clId="{1A9A5981-ADF0-4F53-90C3-26FE35B7311F}" dt="2023-01-08T20:41:28.709" v="28" actId="27918"/>
        <pc:sldMkLst>
          <pc:docMk/>
          <pc:sldMk cId="3877078759" sldId="260"/>
        </pc:sldMkLst>
      </pc:sldChg>
      <pc:sldChg chg="modSp mod">
        <pc:chgData name="Roberto Gallardo" userId="49a044883f185952" providerId="LiveId" clId="{1A9A5981-ADF0-4F53-90C3-26FE35B7311F}" dt="2023-01-08T20:41:00.446" v="25" actId="20577"/>
        <pc:sldMkLst>
          <pc:docMk/>
          <pc:sldMk cId="543148149" sldId="277"/>
        </pc:sldMkLst>
        <pc:spChg chg="mod">
          <ac:chgData name="Roberto Gallardo" userId="49a044883f185952" providerId="LiveId" clId="{1A9A5981-ADF0-4F53-90C3-26FE35B7311F}" dt="2023-01-08T20:41:00.446" v="25" actId="20577"/>
          <ac:spMkLst>
            <pc:docMk/>
            <pc:sldMk cId="543148149" sldId="277"/>
            <ac:spMk id="5" creationId="{6AE302AC-8931-4144-BE52-DD1A8BA82462}"/>
          </ac:spMkLst>
        </pc:spChg>
        <pc:picChg chg="ord">
          <ac:chgData name="Roberto Gallardo" userId="49a044883f185952" providerId="LiveId" clId="{1A9A5981-ADF0-4F53-90C3-26FE35B7311F}" dt="2023-01-08T20:40:55.930" v="23" actId="167"/>
          <ac:picMkLst>
            <pc:docMk/>
            <pc:sldMk cId="543148149" sldId="277"/>
            <ac:picMk id="15" creationId="{B191D37B-F1CD-5A9C-06B8-E0E4181E0306}"/>
          </ac:picMkLst>
        </pc:picChg>
      </pc:sldChg>
    </pc:docChg>
  </pc:docChgLst>
  <pc:docChgLst>
    <pc:chgData name="Roberto Gallardo" userId="49a044883f185952" providerId="LiveId" clId="{2F8C43A3-26AC-42EB-98D9-E2E39A630C0B}"/>
    <pc:docChg chg="custSel modSld">
      <pc:chgData name="Roberto Gallardo" userId="49a044883f185952" providerId="LiveId" clId="{2F8C43A3-26AC-42EB-98D9-E2E39A630C0B}" dt="2023-02-05T23:13:33.414" v="647" actId="20577"/>
      <pc:docMkLst>
        <pc:docMk/>
      </pc:docMkLst>
      <pc:sldChg chg="modSp mod">
        <pc:chgData name="Roberto Gallardo" userId="49a044883f185952" providerId="LiveId" clId="{2F8C43A3-26AC-42EB-98D9-E2E39A630C0B}" dt="2023-01-31T22:38:29.338" v="28" actId="20577"/>
        <pc:sldMkLst>
          <pc:docMk/>
          <pc:sldMk cId="2846901679" sldId="256"/>
        </pc:sldMkLst>
        <pc:spChg chg="mod">
          <ac:chgData name="Roberto Gallardo" userId="49a044883f185952" providerId="LiveId" clId="{2F8C43A3-26AC-42EB-98D9-E2E39A630C0B}" dt="2023-01-31T22:38:29.338" v="28" actId="20577"/>
          <ac:spMkLst>
            <pc:docMk/>
            <pc:sldMk cId="2846901679" sldId="256"/>
            <ac:spMk id="7" creationId="{B1E0ABEC-554C-720A-2772-F0324C8E93CA}"/>
          </ac:spMkLst>
        </pc:spChg>
      </pc:sldChg>
      <pc:sldChg chg="mod">
        <pc:chgData name="Roberto Gallardo" userId="49a044883f185952" providerId="LiveId" clId="{2F8C43A3-26AC-42EB-98D9-E2E39A630C0B}" dt="2023-02-05T22:04:59.312" v="55" actId="27918"/>
        <pc:sldMkLst>
          <pc:docMk/>
          <pc:sldMk cId="3231157596" sldId="257"/>
        </pc:sldMkLst>
      </pc:sldChg>
      <pc:sldChg chg="mod">
        <pc:chgData name="Roberto Gallardo" userId="49a044883f185952" providerId="LiveId" clId="{2F8C43A3-26AC-42EB-98D9-E2E39A630C0B}" dt="2023-02-05T22:03:58.011" v="43" actId="27918"/>
        <pc:sldMkLst>
          <pc:docMk/>
          <pc:sldMk cId="3702837515" sldId="258"/>
        </pc:sldMkLst>
      </pc:sldChg>
      <pc:sldChg chg="mod">
        <pc:chgData name="Roberto Gallardo" userId="49a044883f185952" providerId="LiveId" clId="{2F8C43A3-26AC-42EB-98D9-E2E39A630C0B}" dt="2023-02-05T22:04:31.481" v="49" actId="27918"/>
        <pc:sldMkLst>
          <pc:docMk/>
          <pc:sldMk cId="2519083202" sldId="259"/>
        </pc:sldMkLst>
      </pc:sldChg>
      <pc:sldChg chg="mod">
        <pc:chgData name="Roberto Gallardo" userId="49a044883f185952" providerId="LiveId" clId="{2F8C43A3-26AC-42EB-98D9-E2E39A630C0B}" dt="2023-02-05T21:48:57.496" v="37" actId="27918"/>
        <pc:sldMkLst>
          <pc:docMk/>
          <pc:sldMk cId="3877078759" sldId="260"/>
        </pc:sldMkLst>
      </pc:sldChg>
      <pc:sldChg chg="mod">
        <pc:chgData name="Roberto Gallardo" userId="49a044883f185952" providerId="LiveId" clId="{2F8C43A3-26AC-42EB-98D9-E2E39A630C0B}" dt="2023-02-05T22:09:32.414" v="82" actId="27918"/>
        <pc:sldMkLst>
          <pc:docMk/>
          <pc:sldMk cId="1175010214" sldId="261"/>
        </pc:sldMkLst>
      </pc:sldChg>
      <pc:sldChg chg="addSp modSp mod">
        <pc:chgData name="Roberto Gallardo" userId="49a044883f185952" providerId="LiveId" clId="{2F8C43A3-26AC-42EB-98D9-E2E39A630C0B}" dt="2023-02-05T22:11:29.850" v="98" actId="1076"/>
        <pc:sldMkLst>
          <pc:docMk/>
          <pc:sldMk cId="1418533539" sldId="271"/>
        </pc:sldMkLst>
        <pc:picChg chg="add mod">
          <ac:chgData name="Roberto Gallardo" userId="49a044883f185952" providerId="LiveId" clId="{2F8C43A3-26AC-42EB-98D9-E2E39A630C0B}" dt="2023-02-05T22:11:29.850" v="98" actId="1076"/>
          <ac:picMkLst>
            <pc:docMk/>
            <pc:sldMk cId="1418533539" sldId="271"/>
            <ac:picMk id="6" creationId="{A8ACB21D-C880-B9B0-B8FE-83598C11D735}"/>
          </ac:picMkLst>
        </pc:picChg>
      </pc:sldChg>
      <pc:sldChg chg="mod">
        <pc:chgData name="Roberto Gallardo" userId="49a044883f185952" providerId="LiveId" clId="{2F8C43A3-26AC-42EB-98D9-E2E39A630C0B}" dt="2023-02-05T22:05:47.146" v="61" actId="27918"/>
        <pc:sldMkLst>
          <pc:docMk/>
          <pc:sldMk cId="2653937722" sldId="272"/>
        </pc:sldMkLst>
      </pc:sldChg>
      <pc:sldChg chg="mod">
        <pc:chgData name="Roberto Gallardo" userId="49a044883f185952" providerId="LiveId" clId="{2F8C43A3-26AC-42EB-98D9-E2E39A630C0B}" dt="2023-02-05T22:50:33.577" v="453" actId="27918"/>
        <pc:sldMkLst>
          <pc:docMk/>
          <pc:sldMk cId="2076698419" sldId="273"/>
        </pc:sldMkLst>
      </pc:sldChg>
      <pc:sldChg chg="mod">
        <pc:chgData name="Roberto Gallardo" userId="49a044883f185952" providerId="LiveId" clId="{2F8C43A3-26AC-42EB-98D9-E2E39A630C0B}" dt="2023-02-05T22:54:12.510" v="629" actId="27918"/>
        <pc:sldMkLst>
          <pc:docMk/>
          <pc:sldMk cId="3802335161" sldId="274"/>
        </pc:sldMkLst>
      </pc:sldChg>
      <pc:sldChg chg="mod">
        <pc:chgData name="Roberto Gallardo" userId="49a044883f185952" providerId="LiveId" clId="{2F8C43A3-26AC-42EB-98D9-E2E39A630C0B}" dt="2023-02-05T22:54:40.466" v="635" actId="27918"/>
        <pc:sldMkLst>
          <pc:docMk/>
          <pc:sldMk cId="4292554322" sldId="275"/>
        </pc:sldMkLst>
      </pc:sldChg>
      <pc:sldChg chg="modSp mod">
        <pc:chgData name="Roberto Gallardo" userId="49a044883f185952" providerId="LiveId" clId="{2F8C43A3-26AC-42EB-98D9-E2E39A630C0B}" dt="2023-02-05T22:53:30.857" v="625" actId="20577"/>
        <pc:sldMkLst>
          <pc:docMk/>
          <pc:sldMk cId="513409896" sldId="276"/>
        </pc:sldMkLst>
        <pc:spChg chg="mod">
          <ac:chgData name="Roberto Gallardo" userId="49a044883f185952" providerId="LiveId" clId="{2F8C43A3-26AC-42EB-98D9-E2E39A630C0B}" dt="2023-01-31T22:38:09.300" v="15" actId="1036"/>
          <ac:spMkLst>
            <pc:docMk/>
            <pc:sldMk cId="513409896" sldId="276"/>
            <ac:spMk id="3" creationId="{AADBAC77-8094-925B-9C83-2132E5A4A84C}"/>
          </ac:spMkLst>
        </pc:spChg>
        <pc:spChg chg="mod">
          <ac:chgData name="Roberto Gallardo" userId="49a044883f185952" providerId="LiveId" clId="{2F8C43A3-26AC-42EB-98D9-E2E39A630C0B}" dt="2023-01-31T22:38:09.300" v="15" actId="1036"/>
          <ac:spMkLst>
            <pc:docMk/>
            <pc:sldMk cId="513409896" sldId="276"/>
            <ac:spMk id="5" creationId="{EA0F984F-F15C-B54F-E4CE-75954416187D}"/>
          </ac:spMkLst>
        </pc:spChg>
        <pc:spChg chg="mod">
          <ac:chgData name="Roberto Gallardo" userId="49a044883f185952" providerId="LiveId" clId="{2F8C43A3-26AC-42EB-98D9-E2E39A630C0B}" dt="2023-02-05T22:51:50.428" v="511" actId="1035"/>
          <ac:spMkLst>
            <pc:docMk/>
            <pc:sldMk cId="513409896" sldId="276"/>
            <ac:spMk id="9" creationId="{EB4CC4F6-2F6B-8AF9-8151-CB2C0FF4BAC4}"/>
          </ac:spMkLst>
        </pc:spChg>
        <pc:spChg chg="mod">
          <ac:chgData name="Roberto Gallardo" userId="49a044883f185952" providerId="LiveId" clId="{2F8C43A3-26AC-42EB-98D9-E2E39A630C0B}" dt="2023-02-05T22:52:37.937" v="582" actId="1035"/>
          <ac:spMkLst>
            <pc:docMk/>
            <pc:sldMk cId="513409896" sldId="276"/>
            <ac:spMk id="16" creationId="{420A225E-A640-906C-A470-552759842A43}"/>
          </ac:spMkLst>
        </pc:spChg>
        <pc:spChg chg="mod">
          <ac:chgData name="Roberto Gallardo" userId="49a044883f185952" providerId="LiveId" clId="{2F8C43A3-26AC-42EB-98D9-E2E39A630C0B}" dt="2023-02-05T22:53:30.857" v="625" actId="20577"/>
          <ac:spMkLst>
            <pc:docMk/>
            <pc:sldMk cId="513409896" sldId="276"/>
            <ac:spMk id="21" creationId="{9A68ADBE-AECC-EE60-7E94-3675B33E08AE}"/>
          </ac:spMkLst>
        </pc:spChg>
        <pc:cxnChg chg="mod">
          <ac:chgData name="Roberto Gallardo" userId="49a044883f185952" providerId="LiveId" clId="{2F8C43A3-26AC-42EB-98D9-E2E39A630C0B}" dt="2023-02-05T22:51:39.920" v="492" actId="1076"/>
          <ac:cxnSpMkLst>
            <pc:docMk/>
            <pc:sldMk cId="513409896" sldId="276"/>
            <ac:cxnSpMk id="12" creationId="{CFFB1630-BD90-A400-670C-BA42A969CC53}"/>
          </ac:cxnSpMkLst>
        </pc:cxnChg>
        <pc:cxnChg chg="mod">
          <ac:chgData name="Roberto Gallardo" userId="49a044883f185952" providerId="LiveId" clId="{2F8C43A3-26AC-42EB-98D9-E2E39A630C0B}" dt="2023-02-05T22:51:23.539" v="490" actId="1036"/>
          <ac:cxnSpMkLst>
            <pc:docMk/>
            <pc:sldMk cId="513409896" sldId="276"/>
            <ac:cxnSpMk id="13" creationId="{1D0B6E64-E4A0-FEB0-ABC4-B26C8EF7542E}"/>
          </ac:cxnSpMkLst>
        </pc:cxnChg>
        <pc:cxnChg chg="mod">
          <ac:chgData name="Roberto Gallardo" userId="49a044883f185952" providerId="LiveId" clId="{2F8C43A3-26AC-42EB-98D9-E2E39A630C0B}" dt="2023-02-05T22:51:30.622" v="491" actId="14100"/>
          <ac:cxnSpMkLst>
            <pc:docMk/>
            <pc:sldMk cId="513409896" sldId="276"/>
            <ac:cxnSpMk id="14" creationId="{15AB37BA-8065-3082-3040-FB8974BC0126}"/>
          </ac:cxnSpMkLst>
        </pc:cxnChg>
        <pc:cxnChg chg="mod">
          <ac:chgData name="Roberto Gallardo" userId="49a044883f185952" providerId="LiveId" clId="{2F8C43A3-26AC-42EB-98D9-E2E39A630C0B}" dt="2023-02-05T22:51:39.920" v="492" actId="1076"/>
          <ac:cxnSpMkLst>
            <pc:docMk/>
            <pc:sldMk cId="513409896" sldId="276"/>
            <ac:cxnSpMk id="15" creationId="{BCCCC111-CA7C-CAB0-EAC5-333D5A26296D}"/>
          </ac:cxnSpMkLst>
        </pc:cxnChg>
        <pc:cxnChg chg="mod">
          <ac:chgData name="Roberto Gallardo" userId="49a044883f185952" providerId="LiveId" clId="{2F8C43A3-26AC-42EB-98D9-E2E39A630C0B}" dt="2023-02-05T22:52:04.530" v="525" actId="1036"/>
          <ac:cxnSpMkLst>
            <pc:docMk/>
            <pc:sldMk cId="513409896" sldId="276"/>
            <ac:cxnSpMk id="17" creationId="{26BD209E-6819-82CB-9B59-E03611EAC1FC}"/>
          </ac:cxnSpMkLst>
        </pc:cxnChg>
        <pc:cxnChg chg="mod">
          <ac:chgData name="Roberto Gallardo" userId="49a044883f185952" providerId="LiveId" clId="{2F8C43A3-26AC-42EB-98D9-E2E39A630C0B}" dt="2023-02-05T22:52:24.608" v="559" actId="1035"/>
          <ac:cxnSpMkLst>
            <pc:docMk/>
            <pc:sldMk cId="513409896" sldId="276"/>
            <ac:cxnSpMk id="18" creationId="{F8736966-F272-CC1E-CA8B-886785B2B5EB}"/>
          </ac:cxnSpMkLst>
        </pc:cxnChg>
        <pc:cxnChg chg="mod">
          <ac:chgData name="Roberto Gallardo" userId="49a044883f185952" providerId="LiveId" clId="{2F8C43A3-26AC-42EB-98D9-E2E39A630C0B}" dt="2023-02-05T22:52:43.745" v="583" actId="14100"/>
          <ac:cxnSpMkLst>
            <pc:docMk/>
            <pc:sldMk cId="513409896" sldId="276"/>
            <ac:cxnSpMk id="19" creationId="{310587E0-05D3-43D7-B764-184E1AB6C561}"/>
          </ac:cxnSpMkLst>
        </pc:cxnChg>
        <pc:cxnChg chg="mod">
          <ac:chgData name="Roberto Gallardo" userId="49a044883f185952" providerId="LiveId" clId="{2F8C43A3-26AC-42EB-98D9-E2E39A630C0B}" dt="2023-02-05T22:52:31.779" v="560" actId="14100"/>
          <ac:cxnSpMkLst>
            <pc:docMk/>
            <pc:sldMk cId="513409896" sldId="276"/>
            <ac:cxnSpMk id="20" creationId="{4FC1B3BE-8F7B-FCC3-C3CB-625A8A3E620F}"/>
          </ac:cxnSpMkLst>
        </pc:cxnChg>
        <pc:cxnChg chg="mod">
          <ac:chgData name="Roberto Gallardo" userId="49a044883f185952" providerId="LiveId" clId="{2F8C43A3-26AC-42EB-98D9-E2E39A630C0B}" dt="2023-02-05T22:53:07.692" v="621" actId="1036"/>
          <ac:cxnSpMkLst>
            <pc:docMk/>
            <pc:sldMk cId="513409896" sldId="276"/>
            <ac:cxnSpMk id="22" creationId="{1B423FA0-E4B3-6570-929B-A9283D503787}"/>
          </ac:cxnSpMkLst>
        </pc:cxnChg>
        <pc:cxnChg chg="mod">
          <ac:chgData name="Roberto Gallardo" userId="49a044883f185952" providerId="LiveId" clId="{2F8C43A3-26AC-42EB-98D9-E2E39A630C0B}" dt="2023-02-05T22:52:55.548" v="585" actId="1076"/>
          <ac:cxnSpMkLst>
            <pc:docMk/>
            <pc:sldMk cId="513409896" sldId="276"/>
            <ac:cxnSpMk id="23" creationId="{D616797E-0044-3804-BA5A-23B8EB309CA5}"/>
          </ac:cxnSpMkLst>
        </pc:cxnChg>
        <pc:cxnChg chg="mod">
          <ac:chgData name="Roberto Gallardo" userId="49a044883f185952" providerId="LiveId" clId="{2F8C43A3-26AC-42EB-98D9-E2E39A630C0B}" dt="2023-02-05T22:52:55.548" v="585" actId="1076"/>
          <ac:cxnSpMkLst>
            <pc:docMk/>
            <pc:sldMk cId="513409896" sldId="276"/>
            <ac:cxnSpMk id="24" creationId="{20A6256E-6780-BAE0-B803-D02FE024579F}"/>
          </ac:cxnSpMkLst>
        </pc:cxnChg>
        <pc:cxnChg chg="mod">
          <ac:chgData name="Roberto Gallardo" userId="49a044883f185952" providerId="LiveId" clId="{2F8C43A3-26AC-42EB-98D9-E2E39A630C0B}" dt="2023-02-05T22:53:07.692" v="621" actId="1036"/>
          <ac:cxnSpMkLst>
            <pc:docMk/>
            <pc:sldMk cId="513409896" sldId="276"/>
            <ac:cxnSpMk id="25" creationId="{62B7492E-2C75-E0CD-947E-C582F412F7D7}"/>
          </ac:cxnSpMkLst>
        </pc:cxnChg>
      </pc:sldChg>
      <pc:sldChg chg="mod">
        <pc:chgData name="Roberto Gallardo" userId="49a044883f185952" providerId="LiveId" clId="{2F8C43A3-26AC-42EB-98D9-E2E39A630C0B}" dt="2023-02-05T22:49:50.447" v="448" actId="27918"/>
        <pc:sldMkLst>
          <pc:docMk/>
          <pc:sldMk cId="349244952" sldId="278"/>
        </pc:sldMkLst>
      </pc:sldChg>
      <pc:sldChg chg="addSp modSp mod">
        <pc:chgData name="Roberto Gallardo" userId="49a044883f185952" providerId="LiveId" clId="{2F8C43A3-26AC-42EB-98D9-E2E39A630C0B}" dt="2023-02-05T22:23:40.124" v="201" actId="1076"/>
        <pc:sldMkLst>
          <pc:docMk/>
          <pc:sldMk cId="2124848710" sldId="281"/>
        </pc:sldMkLst>
        <pc:picChg chg="add mod">
          <ac:chgData name="Roberto Gallardo" userId="49a044883f185952" providerId="LiveId" clId="{2F8C43A3-26AC-42EB-98D9-E2E39A630C0B}" dt="2023-02-05T22:23:40.124" v="201" actId="1076"/>
          <ac:picMkLst>
            <pc:docMk/>
            <pc:sldMk cId="2124848710" sldId="281"/>
            <ac:picMk id="5" creationId="{41418484-8E91-C78A-64B4-6975E5F057E9}"/>
          </ac:picMkLst>
        </pc:picChg>
      </pc:sldChg>
      <pc:sldChg chg="addSp modSp mod">
        <pc:chgData name="Roberto Gallardo" userId="49a044883f185952" providerId="LiveId" clId="{2F8C43A3-26AC-42EB-98D9-E2E39A630C0B}" dt="2023-02-05T22:26:59.029" v="223" actId="1076"/>
        <pc:sldMkLst>
          <pc:docMk/>
          <pc:sldMk cId="2028175529" sldId="282"/>
        </pc:sldMkLst>
        <pc:picChg chg="add mod">
          <ac:chgData name="Roberto Gallardo" userId="49a044883f185952" providerId="LiveId" clId="{2F8C43A3-26AC-42EB-98D9-E2E39A630C0B}" dt="2023-02-05T22:26:59.029" v="223" actId="1076"/>
          <ac:picMkLst>
            <pc:docMk/>
            <pc:sldMk cId="2028175529" sldId="282"/>
            <ac:picMk id="5" creationId="{AC52BAFE-9801-C64B-2AB0-224E2B5E8659}"/>
          </ac:picMkLst>
        </pc:picChg>
      </pc:sldChg>
      <pc:sldChg chg="addSp modSp mod">
        <pc:chgData name="Roberto Gallardo" userId="49a044883f185952" providerId="LiveId" clId="{2F8C43A3-26AC-42EB-98D9-E2E39A630C0B}" dt="2023-02-05T22:30:16.181" v="241" actId="1076"/>
        <pc:sldMkLst>
          <pc:docMk/>
          <pc:sldMk cId="1326517747" sldId="283"/>
        </pc:sldMkLst>
        <pc:picChg chg="add mod">
          <ac:chgData name="Roberto Gallardo" userId="49a044883f185952" providerId="LiveId" clId="{2F8C43A3-26AC-42EB-98D9-E2E39A630C0B}" dt="2023-02-05T22:30:16.181" v="241" actId="1076"/>
          <ac:picMkLst>
            <pc:docMk/>
            <pc:sldMk cId="1326517747" sldId="283"/>
            <ac:picMk id="5" creationId="{D6EA438A-2533-00D6-BCB8-8DE56C446745}"/>
          </ac:picMkLst>
        </pc:picChg>
      </pc:sldChg>
      <pc:sldChg chg="addSp modSp mod">
        <pc:chgData name="Roberto Gallardo" userId="49a044883f185952" providerId="LiveId" clId="{2F8C43A3-26AC-42EB-98D9-E2E39A630C0B}" dt="2023-02-05T22:31:52.293" v="259" actId="1076"/>
        <pc:sldMkLst>
          <pc:docMk/>
          <pc:sldMk cId="783739251" sldId="284"/>
        </pc:sldMkLst>
        <pc:picChg chg="add mod">
          <ac:chgData name="Roberto Gallardo" userId="49a044883f185952" providerId="LiveId" clId="{2F8C43A3-26AC-42EB-98D9-E2E39A630C0B}" dt="2023-02-05T22:31:52.293" v="259" actId="1076"/>
          <ac:picMkLst>
            <pc:docMk/>
            <pc:sldMk cId="783739251" sldId="284"/>
            <ac:picMk id="5" creationId="{F59095A2-E15A-CFF4-B8D4-1B8F848B7F3A}"/>
          </ac:picMkLst>
        </pc:picChg>
      </pc:sldChg>
      <pc:sldChg chg="addSp modSp mod">
        <pc:chgData name="Roberto Gallardo" userId="49a044883f185952" providerId="LiveId" clId="{2F8C43A3-26AC-42EB-98D9-E2E39A630C0B}" dt="2023-02-05T22:33:15.040" v="276" actId="1076"/>
        <pc:sldMkLst>
          <pc:docMk/>
          <pc:sldMk cId="1676122233" sldId="285"/>
        </pc:sldMkLst>
        <pc:picChg chg="add mod">
          <ac:chgData name="Roberto Gallardo" userId="49a044883f185952" providerId="LiveId" clId="{2F8C43A3-26AC-42EB-98D9-E2E39A630C0B}" dt="2023-02-05T22:33:15.040" v="276" actId="1076"/>
          <ac:picMkLst>
            <pc:docMk/>
            <pc:sldMk cId="1676122233" sldId="285"/>
            <ac:picMk id="5" creationId="{870666E7-95E9-9658-B37B-2AEFCCA3354D}"/>
          </ac:picMkLst>
        </pc:picChg>
      </pc:sldChg>
      <pc:sldChg chg="addSp modSp mod">
        <pc:chgData name="Roberto Gallardo" userId="49a044883f185952" providerId="LiveId" clId="{2F8C43A3-26AC-42EB-98D9-E2E39A630C0B}" dt="2023-02-05T22:36:11.148" v="297" actId="1076"/>
        <pc:sldMkLst>
          <pc:docMk/>
          <pc:sldMk cId="3100398757" sldId="286"/>
        </pc:sldMkLst>
        <pc:picChg chg="add mod">
          <ac:chgData name="Roberto Gallardo" userId="49a044883f185952" providerId="LiveId" clId="{2F8C43A3-26AC-42EB-98D9-E2E39A630C0B}" dt="2023-02-05T22:36:11.148" v="297" actId="1076"/>
          <ac:picMkLst>
            <pc:docMk/>
            <pc:sldMk cId="3100398757" sldId="286"/>
            <ac:picMk id="5" creationId="{64293278-9852-0312-E638-5DA000F68004}"/>
          </ac:picMkLst>
        </pc:picChg>
      </pc:sldChg>
      <pc:sldChg chg="addSp modSp mod">
        <pc:chgData name="Roberto Gallardo" userId="49a044883f185952" providerId="LiveId" clId="{2F8C43A3-26AC-42EB-98D9-E2E39A630C0B}" dt="2023-02-05T22:38:24.095" v="315" actId="1076"/>
        <pc:sldMkLst>
          <pc:docMk/>
          <pc:sldMk cId="1546475425" sldId="287"/>
        </pc:sldMkLst>
        <pc:picChg chg="add mod">
          <ac:chgData name="Roberto Gallardo" userId="49a044883f185952" providerId="LiveId" clId="{2F8C43A3-26AC-42EB-98D9-E2E39A630C0B}" dt="2023-02-05T22:38:24.095" v="315" actId="1076"/>
          <ac:picMkLst>
            <pc:docMk/>
            <pc:sldMk cId="1546475425" sldId="287"/>
            <ac:picMk id="5" creationId="{33C4D769-0170-6C3C-F459-62356F518407}"/>
          </ac:picMkLst>
        </pc:picChg>
      </pc:sldChg>
      <pc:sldChg chg="addSp modSp mod">
        <pc:chgData name="Roberto Gallardo" userId="49a044883f185952" providerId="LiveId" clId="{2F8C43A3-26AC-42EB-98D9-E2E39A630C0B}" dt="2023-02-05T22:41:33.251" v="355" actId="1076"/>
        <pc:sldMkLst>
          <pc:docMk/>
          <pc:sldMk cId="1380517306" sldId="288"/>
        </pc:sldMkLst>
        <pc:picChg chg="add mod">
          <ac:chgData name="Roberto Gallardo" userId="49a044883f185952" providerId="LiveId" clId="{2F8C43A3-26AC-42EB-98D9-E2E39A630C0B}" dt="2023-02-05T22:41:33.251" v="355" actId="1076"/>
          <ac:picMkLst>
            <pc:docMk/>
            <pc:sldMk cId="1380517306" sldId="288"/>
            <ac:picMk id="5" creationId="{67D50309-C947-3008-651D-CB97F101C1F2}"/>
          </ac:picMkLst>
        </pc:picChg>
      </pc:sldChg>
      <pc:sldChg chg="addSp modSp mod">
        <pc:chgData name="Roberto Gallardo" userId="49a044883f185952" providerId="LiveId" clId="{2F8C43A3-26AC-42EB-98D9-E2E39A630C0B}" dt="2023-02-05T22:43:13.522" v="372" actId="1076"/>
        <pc:sldMkLst>
          <pc:docMk/>
          <pc:sldMk cId="1388671151" sldId="289"/>
        </pc:sldMkLst>
        <pc:picChg chg="add mod">
          <ac:chgData name="Roberto Gallardo" userId="49a044883f185952" providerId="LiveId" clId="{2F8C43A3-26AC-42EB-98D9-E2E39A630C0B}" dt="2023-02-05T22:43:13.522" v="372" actId="1076"/>
          <ac:picMkLst>
            <pc:docMk/>
            <pc:sldMk cId="1388671151" sldId="289"/>
            <ac:picMk id="5" creationId="{EB899FD1-A82A-BAF5-0572-C6CDF28B35E6}"/>
          </ac:picMkLst>
        </pc:picChg>
      </pc:sldChg>
      <pc:sldChg chg="addSp modSp mod">
        <pc:chgData name="Roberto Gallardo" userId="49a044883f185952" providerId="LiveId" clId="{2F8C43A3-26AC-42EB-98D9-E2E39A630C0B}" dt="2023-02-05T22:47:36.420" v="418" actId="1076"/>
        <pc:sldMkLst>
          <pc:docMk/>
          <pc:sldMk cId="2355376039" sldId="290"/>
        </pc:sldMkLst>
        <pc:picChg chg="add mod">
          <ac:chgData name="Roberto Gallardo" userId="49a044883f185952" providerId="LiveId" clId="{2F8C43A3-26AC-42EB-98D9-E2E39A630C0B}" dt="2023-02-05T22:47:36.420" v="418" actId="1076"/>
          <ac:picMkLst>
            <pc:docMk/>
            <pc:sldMk cId="2355376039" sldId="290"/>
            <ac:picMk id="8" creationId="{E0814C0B-6AEC-33D7-983D-2FB373430E27}"/>
          </ac:picMkLst>
        </pc:picChg>
      </pc:sldChg>
      <pc:sldChg chg="addSp delSp modSp mod">
        <pc:chgData name="Roberto Gallardo" userId="49a044883f185952" providerId="LiveId" clId="{2F8C43A3-26AC-42EB-98D9-E2E39A630C0B}" dt="2023-02-05T22:55:49.279" v="646" actId="1076"/>
        <pc:sldMkLst>
          <pc:docMk/>
          <pc:sldMk cId="3757257295" sldId="291"/>
        </pc:sldMkLst>
        <pc:picChg chg="add del mod">
          <ac:chgData name="Roberto Gallardo" userId="49a044883f185952" providerId="LiveId" clId="{2F8C43A3-26AC-42EB-98D9-E2E39A630C0B}" dt="2023-02-05T22:55:20.648" v="636" actId="478"/>
          <ac:picMkLst>
            <pc:docMk/>
            <pc:sldMk cId="3757257295" sldId="291"/>
            <ac:picMk id="7" creationId="{2E84FB06-3D00-C51D-6FBA-06E0A5CC955C}"/>
          </ac:picMkLst>
        </pc:picChg>
        <pc:picChg chg="add mod">
          <ac:chgData name="Roberto Gallardo" userId="49a044883f185952" providerId="LiveId" clId="{2F8C43A3-26AC-42EB-98D9-E2E39A630C0B}" dt="2023-02-05T22:55:49.279" v="646" actId="1076"/>
          <ac:picMkLst>
            <pc:docMk/>
            <pc:sldMk cId="3757257295" sldId="291"/>
            <ac:picMk id="10" creationId="{1634CA93-16A8-5FDE-8DA3-E2531B40F89E}"/>
          </ac:picMkLst>
        </pc:picChg>
      </pc:sldChg>
      <pc:sldChg chg="addSp modSp mod">
        <pc:chgData name="Roberto Gallardo" userId="49a044883f185952" providerId="LiveId" clId="{2F8C43A3-26AC-42EB-98D9-E2E39A630C0B}" dt="2023-02-05T22:39:50.658" v="334" actId="1076"/>
        <pc:sldMkLst>
          <pc:docMk/>
          <pc:sldMk cId="1259856727" sldId="292"/>
        </pc:sldMkLst>
        <pc:picChg chg="add mod">
          <ac:chgData name="Roberto Gallardo" userId="49a044883f185952" providerId="LiveId" clId="{2F8C43A3-26AC-42EB-98D9-E2E39A630C0B}" dt="2023-02-05T22:39:50.658" v="334" actId="1076"/>
          <ac:picMkLst>
            <pc:docMk/>
            <pc:sldMk cId="1259856727" sldId="292"/>
            <ac:picMk id="5" creationId="{9F17A561-E301-F6E0-7D2D-27B7E76D3327}"/>
          </ac:picMkLst>
        </pc:picChg>
      </pc:sldChg>
      <pc:sldChg chg="addSp modSp mod">
        <pc:chgData name="Roberto Gallardo" userId="49a044883f185952" providerId="LiveId" clId="{2F8C43A3-26AC-42EB-98D9-E2E39A630C0B}" dt="2023-02-05T23:13:33.414" v="647" actId="20577"/>
        <pc:sldMkLst>
          <pc:docMk/>
          <pc:sldMk cId="3324519687" sldId="293"/>
        </pc:sldMkLst>
        <pc:spChg chg="mod">
          <ac:chgData name="Roberto Gallardo" userId="49a044883f185952" providerId="LiveId" clId="{2F8C43A3-26AC-42EB-98D9-E2E39A630C0B}" dt="2023-02-05T23:13:33.414" v="647" actId="20577"/>
          <ac:spMkLst>
            <pc:docMk/>
            <pc:sldMk cId="3324519687" sldId="293"/>
            <ac:spMk id="2" creationId="{C03B1400-5F72-D252-1DBE-EDCD6E63B07C}"/>
          </ac:spMkLst>
        </pc:spChg>
        <pc:picChg chg="add mod">
          <ac:chgData name="Roberto Gallardo" userId="49a044883f185952" providerId="LiveId" clId="{2F8C43A3-26AC-42EB-98D9-E2E39A630C0B}" dt="2023-02-05T22:22:00.732" v="182" actId="1076"/>
          <ac:picMkLst>
            <pc:docMk/>
            <pc:sldMk cId="3324519687" sldId="293"/>
            <ac:picMk id="7" creationId="{84513EA8-5A41-3812-5795-50FDD51DA735}"/>
          </ac:picMkLst>
        </pc:picChg>
      </pc:sldChg>
      <pc:sldChg chg="addSp modSp mod">
        <pc:chgData name="Roberto Gallardo" userId="49a044883f185952" providerId="LiveId" clId="{2F8C43A3-26AC-42EB-98D9-E2E39A630C0B}" dt="2023-02-05T22:16:01.571" v="138" actId="1038"/>
        <pc:sldMkLst>
          <pc:docMk/>
          <pc:sldMk cId="3256182630" sldId="295"/>
        </pc:sldMkLst>
        <pc:picChg chg="add mod">
          <ac:chgData name="Roberto Gallardo" userId="49a044883f185952" providerId="LiveId" clId="{2F8C43A3-26AC-42EB-98D9-E2E39A630C0B}" dt="2023-02-05T22:16:01.571" v="138" actId="1038"/>
          <ac:picMkLst>
            <pc:docMk/>
            <pc:sldMk cId="3256182630" sldId="295"/>
            <ac:picMk id="6" creationId="{A0AC33C5-F736-A6CD-6448-7DB593F8F92F}"/>
          </ac:picMkLst>
        </pc:picChg>
      </pc:sldChg>
      <pc:sldChg chg="addSp modSp mod">
        <pc:chgData name="Roberto Gallardo" userId="49a044883f185952" providerId="LiveId" clId="{2F8C43A3-26AC-42EB-98D9-E2E39A630C0B}" dt="2023-02-05T22:17:47.665" v="162" actId="1038"/>
        <pc:sldMkLst>
          <pc:docMk/>
          <pc:sldMk cId="4057156843" sldId="296"/>
        </pc:sldMkLst>
        <pc:picChg chg="add mod">
          <ac:chgData name="Roberto Gallardo" userId="49a044883f185952" providerId="LiveId" clId="{2F8C43A3-26AC-42EB-98D9-E2E39A630C0B}" dt="2023-02-05T22:17:47.665" v="162" actId="1038"/>
          <ac:picMkLst>
            <pc:docMk/>
            <pc:sldMk cId="4057156843" sldId="296"/>
            <ac:picMk id="6" creationId="{75F53D8C-8E1C-2D8C-0339-9CEE29DDE1F6}"/>
          </ac:picMkLst>
        </pc:picChg>
      </pc:sldChg>
      <pc:sldChg chg="addSp modSp mod">
        <pc:chgData name="Roberto Gallardo" userId="49a044883f185952" providerId="LiveId" clId="{2F8C43A3-26AC-42EB-98D9-E2E39A630C0B}" dt="2023-02-05T22:12:39.153" v="112" actId="1076"/>
        <pc:sldMkLst>
          <pc:docMk/>
          <pc:sldMk cId="2080110827" sldId="297"/>
        </pc:sldMkLst>
        <pc:picChg chg="add mod">
          <ac:chgData name="Roberto Gallardo" userId="49a044883f185952" providerId="LiveId" clId="{2F8C43A3-26AC-42EB-98D9-E2E39A630C0B}" dt="2023-02-05T22:12:39.153" v="112" actId="1076"/>
          <ac:picMkLst>
            <pc:docMk/>
            <pc:sldMk cId="2080110827" sldId="297"/>
            <ac:picMk id="6" creationId="{2A27FEE8-4D0D-7F23-E35E-CFE14203CF23}"/>
          </ac:picMkLst>
        </pc:picChg>
      </pc:sldChg>
      <pc:sldChg chg="addSp modSp mod">
        <pc:chgData name="Roberto Gallardo" userId="49a044883f185952" providerId="LiveId" clId="{2F8C43A3-26AC-42EB-98D9-E2E39A630C0B}" dt="2023-02-05T22:12:07.495" v="106" actId="1076"/>
        <pc:sldMkLst>
          <pc:docMk/>
          <pc:sldMk cId="1532666867" sldId="298"/>
        </pc:sldMkLst>
        <pc:picChg chg="add mod">
          <ac:chgData name="Roberto Gallardo" userId="49a044883f185952" providerId="LiveId" clId="{2F8C43A3-26AC-42EB-98D9-E2E39A630C0B}" dt="2023-02-05T22:12:07.495" v="106" actId="1076"/>
          <ac:picMkLst>
            <pc:docMk/>
            <pc:sldMk cId="1532666867" sldId="298"/>
            <ac:picMk id="6" creationId="{106EB3F6-C80C-8076-AF35-6883C2C6BCCB}"/>
          </ac:picMkLst>
        </pc:picChg>
      </pc:sldChg>
      <pc:sldChg chg="addSp modSp mod">
        <pc:chgData name="Roberto Gallardo" userId="49a044883f185952" providerId="LiveId" clId="{2F8C43A3-26AC-42EB-98D9-E2E39A630C0B}" dt="2023-02-05T22:44:38.313" v="388" actId="1076"/>
        <pc:sldMkLst>
          <pc:docMk/>
          <pc:sldMk cId="1951376777" sldId="299"/>
        </pc:sldMkLst>
        <pc:picChg chg="add mod">
          <ac:chgData name="Roberto Gallardo" userId="49a044883f185952" providerId="LiveId" clId="{2F8C43A3-26AC-42EB-98D9-E2E39A630C0B}" dt="2023-02-05T22:44:38.313" v="388" actId="1076"/>
          <ac:picMkLst>
            <pc:docMk/>
            <pc:sldMk cId="1951376777" sldId="299"/>
            <ac:picMk id="5" creationId="{BEB4D80F-D522-3D76-656D-1ADFC92705AB}"/>
          </ac:picMkLst>
        </pc:picChg>
      </pc:sldChg>
      <pc:sldChg chg="mod">
        <pc:chgData name="Roberto Gallardo" userId="49a044883f185952" providerId="LiveId" clId="{2F8C43A3-26AC-42EB-98D9-E2E39A630C0B}" dt="2023-02-05T22:08:08.311" v="70" actId="27918"/>
        <pc:sldMkLst>
          <pc:docMk/>
          <pc:sldMk cId="2841628872" sldId="303"/>
        </pc:sldMkLst>
      </pc:sldChg>
      <pc:sldChg chg="mod">
        <pc:chgData name="Roberto Gallardo" userId="49a044883f185952" providerId="LiveId" clId="{2F8C43A3-26AC-42EB-98D9-E2E39A630C0B}" dt="2023-02-05T22:08:48.155" v="76" actId="27918"/>
        <pc:sldMkLst>
          <pc:docMk/>
          <pc:sldMk cId="3084076302" sldId="304"/>
        </pc:sldMkLst>
      </pc:sldChg>
      <pc:sldChg chg="mod">
        <pc:chgData name="Roberto Gallardo" userId="49a044883f185952" providerId="LiveId" clId="{2F8C43A3-26AC-42EB-98D9-E2E39A630C0B}" dt="2023-02-05T22:10:20.081" v="88" actId="27918"/>
        <pc:sldMkLst>
          <pc:docMk/>
          <pc:sldMk cId="473712435" sldId="305"/>
        </pc:sldMkLst>
      </pc:sldChg>
    </pc:docChg>
  </pc:docChgLst>
  <pc:docChgLst>
    <pc:chgData name="Roberto Gallardo" userId="49a044883f185952" providerId="LiveId" clId="{34201A6A-4C5F-473D-BD2F-4FB52A50645A}"/>
    <pc:docChg chg="undo custSel addSld delSld modSld">
      <pc:chgData name="Roberto Gallardo" userId="49a044883f185952" providerId="LiveId" clId="{34201A6A-4C5F-473D-BD2F-4FB52A50645A}" dt="2023-01-16T16:48:42.927" v="464" actId="27918"/>
      <pc:docMkLst>
        <pc:docMk/>
      </pc:docMkLst>
      <pc:sldChg chg="modSp mod">
        <pc:chgData name="Roberto Gallardo" userId="49a044883f185952" providerId="LiveId" clId="{34201A6A-4C5F-473D-BD2F-4FB52A50645A}" dt="2023-01-16T15:30:41.511" v="13" actId="20577"/>
        <pc:sldMkLst>
          <pc:docMk/>
          <pc:sldMk cId="2846901679" sldId="256"/>
        </pc:sldMkLst>
        <pc:spChg chg="mod">
          <ac:chgData name="Roberto Gallardo" userId="49a044883f185952" providerId="LiveId" clId="{34201A6A-4C5F-473D-BD2F-4FB52A50645A}" dt="2023-01-16T15:30:41.511" v="13" actId="20577"/>
          <ac:spMkLst>
            <pc:docMk/>
            <pc:sldMk cId="2846901679" sldId="256"/>
            <ac:spMk id="7" creationId="{B1E0ABEC-554C-720A-2772-F0324C8E93CA}"/>
          </ac:spMkLst>
        </pc:spChg>
      </pc:sldChg>
      <pc:sldChg chg="mod">
        <pc:chgData name="Roberto Gallardo" userId="49a044883f185952" providerId="LiveId" clId="{34201A6A-4C5F-473D-BD2F-4FB52A50645A}" dt="2023-01-16T15:45:31.732" v="58" actId="27918"/>
        <pc:sldMkLst>
          <pc:docMk/>
          <pc:sldMk cId="3231157596" sldId="257"/>
        </pc:sldMkLst>
      </pc:sldChg>
      <pc:sldChg chg="mod">
        <pc:chgData name="Roberto Gallardo" userId="49a044883f185952" providerId="LiveId" clId="{34201A6A-4C5F-473D-BD2F-4FB52A50645A}" dt="2023-01-16T15:44:10.990" v="46" actId="27918"/>
        <pc:sldMkLst>
          <pc:docMk/>
          <pc:sldMk cId="3702837515" sldId="258"/>
        </pc:sldMkLst>
      </pc:sldChg>
      <pc:sldChg chg="mod">
        <pc:chgData name="Roberto Gallardo" userId="49a044883f185952" providerId="LiveId" clId="{34201A6A-4C5F-473D-BD2F-4FB52A50645A}" dt="2023-01-16T15:44:52.171" v="52" actId="27918"/>
        <pc:sldMkLst>
          <pc:docMk/>
          <pc:sldMk cId="2519083202" sldId="259"/>
        </pc:sldMkLst>
      </pc:sldChg>
      <pc:sldChg chg="mod">
        <pc:chgData name="Roberto Gallardo" userId="49a044883f185952" providerId="LiveId" clId="{34201A6A-4C5F-473D-BD2F-4FB52A50645A}" dt="2023-01-16T15:43:22.589" v="40" actId="27918"/>
        <pc:sldMkLst>
          <pc:docMk/>
          <pc:sldMk cId="3877078759" sldId="260"/>
        </pc:sldMkLst>
      </pc:sldChg>
      <pc:sldChg chg="mod">
        <pc:chgData name="Roberto Gallardo" userId="49a044883f185952" providerId="LiveId" clId="{34201A6A-4C5F-473D-BD2F-4FB52A50645A}" dt="2023-01-16T15:46:52.823" v="70" actId="27918"/>
        <pc:sldMkLst>
          <pc:docMk/>
          <pc:sldMk cId="1175010214" sldId="261"/>
        </pc:sldMkLst>
      </pc:sldChg>
      <pc:sldChg chg="addSp delSp modSp mod">
        <pc:chgData name="Roberto Gallardo" userId="49a044883f185952" providerId="LiveId" clId="{34201A6A-4C5F-473D-BD2F-4FB52A50645A}" dt="2023-01-16T15:47:38.279" v="80" actId="1076"/>
        <pc:sldMkLst>
          <pc:docMk/>
          <pc:sldMk cId="1418533539" sldId="271"/>
        </pc:sldMkLst>
        <pc:picChg chg="del">
          <ac:chgData name="Roberto Gallardo" userId="49a044883f185952" providerId="LiveId" clId="{34201A6A-4C5F-473D-BD2F-4FB52A50645A}" dt="2023-01-16T15:31:55.421" v="14" actId="478"/>
          <ac:picMkLst>
            <pc:docMk/>
            <pc:sldMk cId="1418533539" sldId="271"/>
            <ac:picMk id="6" creationId="{FACE4D62-196F-A615-59EB-291A7142E480}"/>
          </ac:picMkLst>
        </pc:picChg>
        <pc:picChg chg="add mod">
          <ac:chgData name="Roberto Gallardo" userId="49a044883f185952" providerId="LiveId" clId="{34201A6A-4C5F-473D-BD2F-4FB52A50645A}" dt="2023-01-16T15:47:38.279" v="80" actId="1076"/>
          <ac:picMkLst>
            <pc:docMk/>
            <pc:sldMk cId="1418533539" sldId="271"/>
            <ac:picMk id="7" creationId="{163E5F35-A7DD-BA19-FE7A-814841572ADA}"/>
          </ac:picMkLst>
        </pc:picChg>
      </pc:sldChg>
      <pc:sldChg chg="mod">
        <pc:chgData name="Roberto Gallardo" userId="49a044883f185952" providerId="LiveId" clId="{34201A6A-4C5F-473D-BD2F-4FB52A50645A}" dt="2023-01-16T15:46:07.759" v="64" actId="27918"/>
        <pc:sldMkLst>
          <pc:docMk/>
          <pc:sldMk cId="2653937722" sldId="272"/>
        </pc:sldMkLst>
      </pc:sldChg>
      <pc:sldChg chg="mod">
        <pc:chgData name="Roberto Gallardo" userId="49a044883f185952" providerId="LiveId" clId="{34201A6A-4C5F-473D-BD2F-4FB52A50645A}" dt="2023-01-16T16:40:57.686" v="398" actId="27918"/>
        <pc:sldMkLst>
          <pc:docMk/>
          <pc:sldMk cId="2076698419" sldId="273"/>
        </pc:sldMkLst>
      </pc:sldChg>
      <pc:sldChg chg="mod">
        <pc:chgData name="Roberto Gallardo" userId="49a044883f185952" providerId="LiveId" clId="{34201A6A-4C5F-473D-BD2F-4FB52A50645A}" dt="2023-01-16T16:48:03.301" v="458" actId="27918"/>
        <pc:sldMkLst>
          <pc:docMk/>
          <pc:sldMk cId="3802335161" sldId="274"/>
        </pc:sldMkLst>
      </pc:sldChg>
      <pc:sldChg chg="mod">
        <pc:chgData name="Roberto Gallardo" userId="49a044883f185952" providerId="LiveId" clId="{34201A6A-4C5F-473D-BD2F-4FB52A50645A}" dt="2023-01-16T16:48:42.927" v="464" actId="27918"/>
        <pc:sldMkLst>
          <pc:docMk/>
          <pc:sldMk cId="4292554322" sldId="275"/>
        </pc:sldMkLst>
      </pc:sldChg>
      <pc:sldChg chg="modSp mod">
        <pc:chgData name="Roberto Gallardo" userId="49a044883f185952" providerId="LiveId" clId="{34201A6A-4C5F-473D-BD2F-4FB52A50645A}" dt="2023-01-16T16:47:39.781" v="454" actId="14100"/>
        <pc:sldMkLst>
          <pc:docMk/>
          <pc:sldMk cId="513409896" sldId="276"/>
        </pc:sldMkLst>
        <pc:spChg chg="mod">
          <ac:chgData name="Roberto Gallardo" userId="49a044883f185952" providerId="LiveId" clId="{34201A6A-4C5F-473D-BD2F-4FB52A50645A}" dt="2023-01-16T16:47:28.997" v="434" actId="1076"/>
          <ac:spMkLst>
            <pc:docMk/>
            <pc:sldMk cId="513409896" sldId="276"/>
            <ac:spMk id="21" creationId="{9A68ADBE-AECC-EE60-7E94-3675B33E08AE}"/>
          </ac:spMkLst>
        </pc:spChg>
        <pc:cxnChg chg="mod">
          <ac:chgData name="Roberto Gallardo" userId="49a044883f185952" providerId="LiveId" clId="{34201A6A-4C5F-473D-BD2F-4FB52A50645A}" dt="2023-01-16T16:47:20.274" v="432" actId="1036"/>
          <ac:cxnSpMkLst>
            <pc:docMk/>
            <pc:sldMk cId="513409896" sldId="276"/>
            <ac:cxnSpMk id="22" creationId="{1B423FA0-E4B3-6570-929B-A9283D503787}"/>
          </ac:cxnSpMkLst>
        </pc:cxnChg>
        <pc:cxnChg chg="mod">
          <ac:chgData name="Roberto Gallardo" userId="49a044883f185952" providerId="LiveId" clId="{34201A6A-4C5F-473D-BD2F-4FB52A50645A}" dt="2023-01-16T16:47:33.523" v="453" actId="1036"/>
          <ac:cxnSpMkLst>
            <pc:docMk/>
            <pc:sldMk cId="513409896" sldId="276"/>
            <ac:cxnSpMk id="23" creationId="{D616797E-0044-3804-BA5A-23B8EB309CA5}"/>
          </ac:cxnSpMkLst>
        </pc:cxnChg>
        <pc:cxnChg chg="mod">
          <ac:chgData name="Roberto Gallardo" userId="49a044883f185952" providerId="LiveId" clId="{34201A6A-4C5F-473D-BD2F-4FB52A50645A}" dt="2023-01-16T16:47:39.781" v="454" actId="14100"/>
          <ac:cxnSpMkLst>
            <pc:docMk/>
            <pc:sldMk cId="513409896" sldId="276"/>
            <ac:cxnSpMk id="24" creationId="{20A6256E-6780-BAE0-B803-D02FE024579F}"/>
          </ac:cxnSpMkLst>
        </pc:cxnChg>
        <pc:cxnChg chg="mod">
          <ac:chgData name="Roberto Gallardo" userId="49a044883f185952" providerId="LiveId" clId="{34201A6A-4C5F-473D-BD2F-4FB52A50645A}" dt="2023-01-16T16:47:26.173" v="433" actId="14100"/>
          <ac:cxnSpMkLst>
            <pc:docMk/>
            <pc:sldMk cId="513409896" sldId="276"/>
            <ac:cxnSpMk id="25" creationId="{62B7492E-2C75-E0CD-947E-C582F412F7D7}"/>
          </ac:cxnSpMkLst>
        </pc:cxnChg>
      </pc:sldChg>
      <pc:sldChg chg="mod">
        <pc:chgData name="Roberto Gallardo" userId="49a044883f185952" providerId="LiveId" clId="{34201A6A-4C5F-473D-BD2F-4FB52A50645A}" dt="2023-01-16T16:10:18.276" v="393" actId="27918"/>
        <pc:sldMkLst>
          <pc:docMk/>
          <pc:sldMk cId="349244952" sldId="278"/>
        </pc:sldMkLst>
      </pc:sldChg>
      <pc:sldChg chg="addSp delSp modSp mod">
        <pc:chgData name="Roberto Gallardo" userId="49a044883f185952" providerId="LiveId" clId="{34201A6A-4C5F-473D-BD2F-4FB52A50645A}" dt="2023-01-16T15:54:34.187" v="187" actId="1037"/>
        <pc:sldMkLst>
          <pc:docMk/>
          <pc:sldMk cId="2124848710" sldId="281"/>
        </pc:sldMkLst>
        <pc:picChg chg="del">
          <ac:chgData name="Roberto Gallardo" userId="49a044883f185952" providerId="LiveId" clId="{34201A6A-4C5F-473D-BD2F-4FB52A50645A}" dt="2023-01-16T15:32:07.757" v="20" actId="478"/>
          <ac:picMkLst>
            <pc:docMk/>
            <pc:sldMk cId="2124848710" sldId="281"/>
            <ac:picMk id="5" creationId="{FB27A213-C0B7-6BD5-7FED-23D21C6A08C4}"/>
          </ac:picMkLst>
        </pc:picChg>
        <pc:picChg chg="add mod">
          <ac:chgData name="Roberto Gallardo" userId="49a044883f185952" providerId="LiveId" clId="{34201A6A-4C5F-473D-BD2F-4FB52A50645A}" dt="2023-01-16T15:54:34.187" v="187" actId="1037"/>
          <ac:picMkLst>
            <pc:docMk/>
            <pc:sldMk cId="2124848710" sldId="281"/>
            <ac:picMk id="8" creationId="{9153084F-FC00-0CE4-66C8-0E07E1623826}"/>
          </ac:picMkLst>
        </pc:picChg>
      </pc:sldChg>
      <pc:sldChg chg="addSp delSp modSp mod">
        <pc:chgData name="Roberto Gallardo" userId="49a044883f185952" providerId="LiveId" clId="{34201A6A-4C5F-473D-BD2F-4FB52A50645A}" dt="2023-01-16T15:55:42.379" v="203" actId="1076"/>
        <pc:sldMkLst>
          <pc:docMk/>
          <pc:sldMk cId="2028175529" sldId="282"/>
        </pc:sldMkLst>
        <pc:picChg chg="add mod">
          <ac:chgData name="Roberto Gallardo" userId="49a044883f185952" providerId="LiveId" clId="{34201A6A-4C5F-473D-BD2F-4FB52A50645A}" dt="2023-01-16T15:55:42.379" v="203" actId="1076"/>
          <ac:picMkLst>
            <pc:docMk/>
            <pc:sldMk cId="2028175529" sldId="282"/>
            <ac:picMk id="5" creationId="{66F5E906-151A-8A14-F31C-BFF6F6AC1A90}"/>
          </ac:picMkLst>
        </pc:picChg>
        <pc:picChg chg="del">
          <ac:chgData name="Roberto Gallardo" userId="49a044883f185952" providerId="LiveId" clId="{34201A6A-4C5F-473D-BD2F-4FB52A50645A}" dt="2023-01-16T15:32:09.862" v="21" actId="478"/>
          <ac:picMkLst>
            <pc:docMk/>
            <pc:sldMk cId="2028175529" sldId="282"/>
            <ac:picMk id="8" creationId="{94976C04-A24B-F3C5-B9C0-27F15B00E593}"/>
          </ac:picMkLst>
        </pc:picChg>
      </pc:sldChg>
      <pc:sldChg chg="addSp delSp modSp mod">
        <pc:chgData name="Roberto Gallardo" userId="49a044883f185952" providerId="LiveId" clId="{34201A6A-4C5F-473D-BD2F-4FB52A50645A}" dt="2023-01-16T15:57:14.678" v="221" actId="1076"/>
        <pc:sldMkLst>
          <pc:docMk/>
          <pc:sldMk cId="1326517747" sldId="283"/>
        </pc:sldMkLst>
        <pc:picChg chg="add mod">
          <ac:chgData name="Roberto Gallardo" userId="49a044883f185952" providerId="LiveId" clId="{34201A6A-4C5F-473D-BD2F-4FB52A50645A}" dt="2023-01-16T15:57:14.678" v="221" actId="1076"/>
          <ac:picMkLst>
            <pc:docMk/>
            <pc:sldMk cId="1326517747" sldId="283"/>
            <ac:picMk id="5" creationId="{1D8CBC8A-DA84-2A40-2362-0658B5BBF047}"/>
          </ac:picMkLst>
        </pc:picChg>
        <pc:picChg chg="del">
          <ac:chgData name="Roberto Gallardo" userId="49a044883f185952" providerId="LiveId" clId="{34201A6A-4C5F-473D-BD2F-4FB52A50645A}" dt="2023-01-16T15:32:11.357" v="22" actId="478"/>
          <ac:picMkLst>
            <pc:docMk/>
            <pc:sldMk cId="1326517747" sldId="283"/>
            <ac:picMk id="8" creationId="{033B3FE1-9C3F-6EF0-C136-37EF9E1F1D30}"/>
          </ac:picMkLst>
        </pc:picChg>
      </pc:sldChg>
      <pc:sldChg chg="addSp delSp modSp mod">
        <pc:chgData name="Roberto Gallardo" userId="49a044883f185952" providerId="LiveId" clId="{34201A6A-4C5F-473D-BD2F-4FB52A50645A}" dt="2023-01-16T15:58:25.892" v="239" actId="1076"/>
        <pc:sldMkLst>
          <pc:docMk/>
          <pc:sldMk cId="783739251" sldId="284"/>
        </pc:sldMkLst>
        <pc:picChg chg="add mod">
          <ac:chgData name="Roberto Gallardo" userId="49a044883f185952" providerId="LiveId" clId="{34201A6A-4C5F-473D-BD2F-4FB52A50645A}" dt="2023-01-16T15:58:25.892" v="239" actId="1076"/>
          <ac:picMkLst>
            <pc:docMk/>
            <pc:sldMk cId="783739251" sldId="284"/>
            <ac:picMk id="5" creationId="{56A01DA7-29EC-A2CD-67AC-FA3383E14F1A}"/>
          </ac:picMkLst>
        </pc:picChg>
        <pc:picChg chg="del">
          <ac:chgData name="Roberto Gallardo" userId="49a044883f185952" providerId="LiveId" clId="{34201A6A-4C5F-473D-BD2F-4FB52A50645A}" dt="2023-01-16T15:32:12.853" v="23" actId="478"/>
          <ac:picMkLst>
            <pc:docMk/>
            <pc:sldMk cId="783739251" sldId="284"/>
            <ac:picMk id="8" creationId="{D815B327-B2B1-C919-C7A3-309DB3D75C16}"/>
          </ac:picMkLst>
        </pc:picChg>
      </pc:sldChg>
      <pc:sldChg chg="addSp delSp modSp add del mod">
        <pc:chgData name="Roberto Gallardo" userId="49a044883f185952" providerId="LiveId" clId="{34201A6A-4C5F-473D-BD2F-4FB52A50645A}" dt="2023-01-16T15:59:35.119" v="255" actId="1076"/>
        <pc:sldMkLst>
          <pc:docMk/>
          <pc:sldMk cId="1676122233" sldId="285"/>
        </pc:sldMkLst>
        <pc:picChg chg="add mod">
          <ac:chgData name="Roberto Gallardo" userId="49a044883f185952" providerId="LiveId" clId="{34201A6A-4C5F-473D-BD2F-4FB52A50645A}" dt="2023-01-16T15:59:35.119" v="255" actId="1076"/>
          <ac:picMkLst>
            <pc:docMk/>
            <pc:sldMk cId="1676122233" sldId="285"/>
            <ac:picMk id="5" creationId="{EA4F6CC3-0588-CCCE-1FDF-25F2BB21661A}"/>
          </ac:picMkLst>
        </pc:picChg>
        <pc:picChg chg="del">
          <ac:chgData name="Roberto Gallardo" userId="49a044883f185952" providerId="LiveId" clId="{34201A6A-4C5F-473D-BD2F-4FB52A50645A}" dt="2023-01-16T15:32:18.062" v="26" actId="478"/>
          <ac:picMkLst>
            <pc:docMk/>
            <pc:sldMk cId="1676122233" sldId="285"/>
            <ac:picMk id="8" creationId="{904E4106-2EEF-7FB4-8C31-15755E7953DE}"/>
          </ac:picMkLst>
        </pc:picChg>
      </pc:sldChg>
      <pc:sldChg chg="addSp delSp modSp mod">
        <pc:chgData name="Roberto Gallardo" userId="49a044883f185952" providerId="LiveId" clId="{34201A6A-4C5F-473D-BD2F-4FB52A50645A}" dt="2023-01-16T16:00:50.971" v="271" actId="1076"/>
        <pc:sldMkLst>
          <pc:docMk/>
          <pc:sldMk cId="3100398757" sldId="286"/>
        </pc:sldMkLst>
        <pc:picChg chg="add mod">
          <ac:chgData name="Roberto Gallardo" userId="49a044883f185952" providerId="LiveId" clId="{34201A6A-4C5F-473D-BD2F-4FB52A50645A}" dt="2023-01-16T16:00:50.971" v="271" actId="1076"/>
          <ac:picMkLst>
            <pc:docMk/>
            <pc:sldMk cId="3100398757" sldId="286"/>
            <ac:picMk id="5" creationId="{190E412C-AB2D-2EAE-DCC8-9C46E6B3C279}"/>
          </ac:picMkLst>
        </pc:picChg>
        <pc:picChg chg="del">
          <ac:chgData name="Roberto Gallardo" userId="49a044883f185952" providerId="LiveId" clId="{34201A6A-4C5F-473D-BD2F-4FB52A50645A}" dt="2023-01-16T15:32:19.822" v="27" actId="478"/>
          <ac:picMkLst>
            <pc:docMk/>
            <pc:sldMk cId="3100398757" sldId="286"/>
            <ac:picMk id="8" creationId="{470680D7-D741-1B4E-D3AF-14882434BB99}"/>
          </ac:picMkLst>
        </pc:picChg>
      </pc:sldChg>
      <pc:sldChg chg="addSp delSp modSp mod">
        <pc:chgData name="Roberto Gallardo" userId="49a044883f185952" providerId="LiveId" clId="{34201A6A-4C5F-473D-BD2F-4FB52A50645A}" dt="2023-01-16T16:01:57.756" v="287" actId="1076"/>
        <pc:sldMkLst>
          <pc:docMk/>
          <pc:sldMk cId="1546475425" sldId="287"/>
        </pc:sldMkLst>
        <pc:picChg chg="add mod">
          <ac:chgData name="Roberto Gallardo" userId="49a044883f185952" providerId="LiveId" clId="{34201A6A-4C5F-473D-BD2F-4FB52A50645A}" dt="2023-01-16T16:01:57.756" v="287" actId="1076"/>
          <ac:picMkLst>
            <pc:docMk/>
            <pc:sldMk cId="1546475425" sldId="287"/>
            <ac:picMk id="5" creationId="{5A858AD0-E725-2D3F-BDE4-B4BDB92FD3C4}"/>
          </ac:picMkLst>
        </pc:picChg>
        <pc:picChg chg="del">
          <ac:chgData name="Roberto Gallardo" userId="49a044883f185952" providerId="LiveId" clId="{34201A6A-4C5F-473D-BD2F-4FB52A50645A}" dt="2023-01-16T15:32:21.949" v="28" actId="478"/>
          <ac:picMkLst>
            <pc:docMk/>
            <pc:sldMk cId="1546475425" sldId="287"/>
            <ac:picMk id="8" creationId="{A9B8342A-9624-20BF-BA75-F4D3E782C107}"/>
          </ac:picMkLst>
        </pc:picChg>
      </pc:sldChg>
      <pc:sldChg chg="addSp delSp modSp mod">
        <pc:chgData name="Roberto Gallardo" userId="49a044883f185952" providerId="LiveId" clId="{34201A6A-4C5F-473D-BD2F-4FB52A50645A}" dt="2023-01-16T16:04:53.890" v="323" actId="27918"/>
        <pc:sldMkLst>
          <pc:docMk/>
          <pc:sldMk cId="1380517306" sldId="288"/>
        </pc:sldMkLst>
        <pc:picChg chg="add mod">
          <ac:chgData name="Roberto Gallardo" userId="49a044883f185952" providerId="LiveId" clId="{34201A6A-4C5F-473D-BD2F-4FB52A50645A}" dt="2023-01-16T16:04:10.020" v="318" actId="1076"/>
          <ac:picMkLst>
            <pc:docMk/>
            <pc:sldMk cId="1380517306" sldId="288"/>
            <ac:picMk id="5" creationId="{315C537A-B307-EABD-F0A8-70F3D38AF27D}"/>
          </ac:picMkLst>
        </pc:picChg>
        <pc:picChg chg="del">
          <ac:chgData name="Roberto Gallardo" userId="49a044883f185952" providerId="LiveId" clId="{34201A6A-4C5F-473D-BD2F-4FB52A50645A}" dt="2023-01-16T15:32:25.678" v="30" actId="478"/>
          <ac:picMkLst>
            <pc:docMk/>
            <pc:sldMk cId="1380517306" sldId="288"/>
            <ac:picMk id="8" creationId="{AE4C90AF-5FA5-4B57-6616-1799974E20BA}"/>
          </ac:picMkLst>
        </pc:picChg>
      </pc:sldChg>
      <pc:sldChg chg="addSp delSp modSp mod">
        <pc:chgData name="Roberto Gallardo" userId="49a044883f185952" providerId="LiveId" clId="{34201A6A-4C5F-473D-BD2F-4FB52A50645A}" dt="2023-01-16T16:06:11.169" v="339" actId="1076"/>
        <pc:sldMkLst>
          <pc:docMk/>
          <pc:sldMk cId="1388671151" sldId="289"/>
        </pc:sldMkLst>
        <pc:picChg chg="add mod">
          <ac:chgData name="Roberto Gallardo" userId="49a044883f185952" providerId="LiveId" clId="{34201A6A-4C5F-473D-BD2F-4FB52A50645A}" dt="2023-01-16T16:06:11.169" v="339" actId="1076"/>
          <ac:picMkLst>
            <pc:docMk/>
            <pc:sldMk cId="1388671151" sldId="289"/>
            <ac:picMk id="5" creationId="{671A475F-205F-0708-35EE-7704CA8CC6A5}"/>
          </ac:picMkLst>
        </pc:picChg>
        <pc:picChg chg="del">
          <ac:chgData name="Roberto Gallardo" userId="49a044883f185952" providerId="LiveId" clId="{34201A6A-4C5F-473D-BD2F-4FB52A50645A}" dt="2023-01-16T15:32:28.037" v="31" actId="478"/>
          <ac:picMkLst>
            <pc:docMk/>
            <pc:sldMk cId="1388671151" sldId="289"/>
            <ac:picMk id="8" creationId="{A72E2CDE-182F-1AA1-C01B-EDD0B9EE364C}"/>
          </ac:picMkLst>
        </pc:picChg>
      </pc:sldChg>
      <pc:sldChg chg="addSp delSp modSp mod">
        <pc:chgData name="Roberto Gallardo" userId="49a044883f185952" providerId="LiveId" clId="{34201A6A-4C5F-473D-BD2F-4FB52A50645A}" dt="2023-01-16T16:08:44.465" v="369" actId="1076"/>
        <pc:sldMkLst>
          <pc:docMk/>
          <pc:sldMk cId="2355376039" sldId="290"/>
        </pc:sldMkLst>
        <pc:picChg chg="del">
          <ac:chgData name="Roberto Gallardo" userId="49a044883f185952" providerId="LiveId" clId="{34201A6A-4C5F-473D-BD2F-4FB52A50645A}" dt="2023-01-16T15:32:31.842" v="33" actId="478"/>
          <ac:picMkLst>
            <pc:docMk/>
            <pc:sldMk cId="2355376039" sldId="290"/>
            <ac:picMk id="8" creationId="{D6D3637F-15B1-7D14-C40B-AA2B5BBEAE9C}"/>
          </ac:picMkLst>
        </pc:picChg>
        <pc:picChg chg="add mod">
          <ac:chgData name="Roberto Gallardo" userId="49a044883f185952" providerId="LiveId" clId="{34201A6A-4C5F-473D-BD2F-4FB52A50645A}" dt="2023-01-16T16:08:44.465" v="369" actId="1076"/>
          <ac:picMkLst>
            <pc:docMk/>
            <pc:sldMk cId="2355376039" sldId="290"/>
            <ac:picMk id="9" creationId="{9E051D75-6DDE-0567-3E39-C2B074D0095A}"/>
          </ac:picMkLst>
        </pc:picChg>
      </pc:sldChg>
      <pc:sldChg chg="addSp delSp modSp mod">
        <pc:chgData name="Roberto Gallardo" userId="49a044883f185952" providerId="LiveId" clId="{34201A6A-4C5F-473D-BD2F-4FB52A50645A}" dt="2023-01-16T16:09:51.830" v="389" actId="1076"/>
        <pc:sldMkLst>
          <pc:docMk/>
          <pc:sldMk cId="3757257295" sldId="291"/>
        </pc:sldMkLst>
        <pc:picChg chg="add mod">
          <ac:chgData name="Roberto Gallardo" userId="49a044883f185952" providerId="LiveId" clId="{34201A6A-4C5F-473D-BD2F-4FB52A50645A}" dt="2023-01-16T16:09:51.830" v="389" actId="1076"/>
          <ac:picMkLst>
            <pc:docMk/>
            <pc:sldMk cId="3757257295" sldId="291"/>
            <ac:picMk id="7" creationId="{E6A0B221-42D4-1C8E-4990-FD0957B57556}"/>
          </ac:picMkLst>
        </pc:picChg>
        <pc:picChg chg="del">
          <ac:chgData name="Roberto Gallardo" userId="49a044883f185952" providerId="LiveId" clId="{34201A6A-4C5F-473D-BD2F-4FB52A50645A}" dt="2023-01-16T15:32:34.551" v="34" actId="478"/>
          <ac:picMkLst>
            <pc:docMk/>
            <pc:sldMk cId="3757257295" sldId="291"/>
            <ac:picMk id="8" creationId="{156AEE47-CC26-3634-78D8-8C1608170444}"/>
          </ac:picMkLst>
        </pc:picChg>
      </pc:sldChg>
      <pc:sldChg chg="addSp delSp modSp mod">
        <pc:chgData name="Roberto Gallardo" userId="49a044883f185952" providerId="LiveId" clId="{34201A6A-4C5F-473D-BD2F-4FB52A50645A}" dt="2023-01-16T16:03:08.263" v="303" actId="1076"/>
        <pc:sldMkLst>
          <pc:docMk/>
          <pc:sldMk cId="1259856727" sldId="292"/>
        </pc:sldMkLst>
        <pc:picChg chg="add mod">
          <ac:chgData name="Roberto Gallardo" userId="49a044883f185952" providerId="LiveId" clId="{34201A6A-4C5F-473D-BD2F-4FB52A50645A}" dt="2023-01-16T16:03:08.263" v="303" actId="1076"/>
          <ac:picMkLst>
            <pc:docMk/>
            <pc:sldMk cId="1259856727" sldId="292"/>
            <ac:picMk id="5" creationId="{7991B787-2955-26E5-638C-03EB53054716}"/>
          </ac:picMkLst>
        </pc:picChg>
        <pc:picChg chg="del">
          <ac:chgData name="Roberto Gallardo" userId="49a044883f185952" providerId="LiveId" clId="{34201A6A-4C5F-473D-BD2F-4FB52A50645A}" dt="2023-01-16T15:32:23.982" v="29" actId="478"/>
          <ac:picMkLst>
            <pc:docMk/>
            <pc:sldMk cId="1259856727" sldId="292"/>
            <ac:picMk id="8" creationId="{331580CE-AA9E-AFEC-4861-10F13955BFE5}"/>
          </ac:picMkLst>
        </pc:picChg>
      </pc:sldChg>
      <pc:sldChg chg="addSp delSp modSp mod">
        <pc:chgData name="Roberto Gallardo" userId="49a044883f185952" providerId="LiveId" clId="{34201A6A-4C5F-473D-BD2F-4FB52A50645A}" dt="2023-01-16T15:53:22.742" v="164" actId="1076"/>
        <pc:sldMkLst>
          <pc:docMk/>
          <pc:sldMk cId="3324519687" sldId="293"/>
        </pc:sldMkLst>
        <pc:picChg chg="add mod">
          <ac:chgData name="Roberto Gallardo" userId="49a044883f185952" providerId="LiveId" clId="{34201A6A-4C5F-473D-BD2F-4FB52A50645A}" dt="2023-01-16T15:53:22.742" v="164" actId="1076"/>
          <ac:picMkLst>
            <pc:docMk/>
            <pc:sldMk cId="3324519687" sldId="293"/>
            <ac:picMk id="7" creationId="{343C37E9-F1BB-1C21-F347-49E123FD807D}"/>
          </ac:picMkLst>
        </pc:picChg>
        <pc:picChg chg="del">
          <ac:chgData name="Roberto Gallardo" userId="49a044883f185952" providerId="LiveId" clId="{34201A6A-4C5F-473D-BD2F-4FB52A50645A}" dt="2023-01-16T15:32:05.917" v="19" actId="478"/>
          <ac:picMkLst>
            <pc:docMk/>
            <pc:sldMk cId="3324519687" sldId="293"/>
            <ac:picMk id="8" creationId="{FD1333ED-1131-3861-958C-4C42B9D3BC9F}"/>
          </ac:picMkLst>
        </pc:picChg>
      </pc:sldChg>
      <pc:sldChg chg="addSp delSp modSp mod">
        <pc:chgData name="Roberto Gallardo" userId="49a044883f185952" providerId="LiveId" clId="{34201A6A-4C5F-473D-BD2F-4FB52A50645A}" dt="2023-01-16T15:50:59.120" v="133" actId="1076"/>
        <pc:sldMkLst>
          <pc:docMk/>
          <pc:sldMk cId="3256182630" sldId="295"/>
        </pc:sldMkLst>
        <pc:picChg chg="del">
          <ac:chgData name="Roberto Gallardo" userId="49a044883f185952" providerId="LiveId" clId="{34201A6A-4C5F-473D-BD2F-4FB52A50645A}" dt="2023-01-16T15:32:00.769" v="16" actId="478"/>
          <ac:picMkLst>
            <pc:docMk/>
            <pc:sldMk cId="3256182630" sldId="295"/>
            <ac:picMk id="6" creationId="{525C02B9-4D86-DE25-3429-FF01BD8E8E7E}"/>
          </ac:picMkLst>
        </pc:picChg>
        <pc:picChg chg="add del mod">
          <ac:chgData name="Roberto Gallardo" userId="49a044883f185952" providerId="LiveId" clId="{34201A6A-4C5F-473D-BD2F-4FB52A50645A}" dt="2023-01-16T15:50:01.318" v="119" actId="478"/>
          <ac:picMkLst>
            <pc:docMk/>
            <pc:sldMk cId="3256182630" sldId="295"/>
            <ac:picMk id="7" creationId="{21EBA857-5816-D412-AA3F-8582F2344F57}"/>
          </ac:picMkLst>
        </pc:picChg>
        <pc:picChg chg="add mod">
          <ac:chgData name="Roberto Gallardo" userId="49a044883f185952" providerId="LiveId" clId="{34201A6A-4C5F-473D-BD2F-4FB52A50645A}" dt="2023-01-16T15:50:59.120" v="133" actId="1076"/>
          <ac:picMkLst>
            <pc:docMk/>
            <pc:sldMk cId="3256182630" sldId="295"/>
            <ac:picMk id="10" creationId="{D24F2621-9537-754E-8330-EDA9970A38CE}"/>
          </ac:picMkLst>
        </pc:picChg>
      </pc:sldChg>
      <pc:sldChg chg="addSp delSp modSp mod">
        <pc:chgData name="Roberto Gallardo" userId="49a044883f185952" providerId="LiveId" clId="{34201A6A-4C5F-473D-BD2F-4FB52A50645A}" dt="2023-01-16T15:52:08.468" v="149" actId="1076"/>
        <pc:sldMkLst>
          <pc:docMk/>
          <pc:sldMk cId="4057156843" sldId="296"/>
        </pc:sldMkLst>
        <pc:picChg chg="add mod">
          <ac:chgData name="Roberto Gallardo" userId="49a044883f185952" providerId="LiveId" clId="{34201A6A-4C5F-473D-BD2F-4FB52A50645A}" dt="2023-01-16T15:52:08.468" v="149" actId="1076"/>
          <ac:picMkLst>
            <pc:docMk/>
            <pc:sldMk cId="4057156843" sldId="296"/>
            <ac:picMk id="6" creationId="{4E5D142A-BA43-1AC6-1399-15E707652433}"/>
          </ac:picMkLst>
        </pc:picChg>
        <pc:picChg chg="del">
          <ac:chgData name="Roberto Gallardo" userId="49a044883f185952" providerId="LiveId" clId="{34201A6A-4C5F-473D-BD2F-4FB52A50645A}" dt="2023-01-16T15:32:04.277" v="18" actId="478"/>
          <ac:picMkLst>
            <pc:docMk/>
            <pc:sldMk cId="4057156843" sldId="296"/>
            <ac:picMk id="7" creationId="{FF4602A0-2D1D-4AA7-AD4F-14D511613A60}"/>
          </ac:picMkLst>
        </pc:picChg>
      </pc:sldChg>
      <pc:sldChg chg="addSp delSp modSp mod">
        <pc:chgData name="Roberto Gallardo" userId="49a044883f185952" providerId="LiveId" clId="{34201A6A-4C5F-473D-BD2F-4FB52A50645A}" dt="2023-01-16T15:48:27.643" v="98" actId="1076"/>
        <pc:sldMkLst>
          <pc:docMk/>
          <pc:sldMk cId="2080110827" sldId="297"/>
        </pc:sldMkLst>
        <pc:picChg chg="add mod">
          <ac:chgData name="Roberto Gallardo" userId="49a044883f185952" providerId="LiveId" clId="{34201A6A-4C5F-473D-BD2F-4FB52A50645A}" dt="2023-01-16T15:48:27.643" v="98" actId="1076"/>
          <ac:picMkLst>
            <pc:docMk/>
            <pc:sldMk cId="2080110827" sldId="297"/>
            <ac:picMk id="6" creationId="{C7E3F7D3-EFB9-87FF-79A9-2A968B7EB5AA}"/>
          </ac:picMkLst>
        </pc:picChg>
        <pc:picChg chg="del">
          <ac:chgData name="Roberto Gallardo" userId="49a044883f185952" providerId="LiveId" clId="{34201A6A-4C5F-473D-BD2F-4FB52A50645A}" dt="2023-01-16T15:32:02.326" v="17" actId="478"/>
          <ac:picMkLst>
            <pc:docMk/>
            <pc:sldMk cId="2080110827" sldId="297"/>
            <ac:picMk id="7" creationId="{DB4F051A-9B70-B730-2642-966C496E35FA}"/>
          </ac:picMkLst>
        </pc:picChg>
      </pc:sldChg>
      <pc:sldChg chg="addSp delSp modSp mod">
        <pc:chgData name="Roberto Gallardo" userId="49a044883f185952" providerId="LiveId" clId="{34201A6A-4C5F-473D-BD2F-4FB52A50645A}" dt="2023-01-16T15:48:09.075" v="91" actId="1076"/>
        <pc:sldMkLst>
          <pc:docMk/>
          <pc:sldMk cId="1532666867" sldId="298"/>
        </pc:sldMkLst>
        <pc:picChg chg="del">
          <ac:chgData name="Roberto Gallardo" userId="49a044883f185952" providerId="LiveId" clId="{34201A6A-4C5F-473D-BD2F-4FB52A50645A}" dt="2023-01-16T15:31:56.950" v="15" actId="478"/>
          <ac:picMkLst>
            <pc:docMk/>
            <pc:sldMk cId="1532666867" sldId="298"/>
            <ac:picMk id="6" creationId="{7B339876-341F-790C-BE75-F1E31A2A8E75}"/>
          </ac:picMkLst>
        </pc:picChg>
        <pc:picChg chg="add del mod">
          <ac:chgData name="Roberto Gallardo" userId="49a044883f185952" providerId="LiveId" clId="{34201A6A-4C5F-473D-BD2F-4FB52A50645A}" dt="2023-01-16T15:47:51.526" v="84" actId="478"/>
          <ac:picMkLst>
            <pc:docMk/>
            <pc:sldMk cId="1532666867" sldId="298"/>
            <ac:picMk id="7" creationId="{FE26A916-235D-EE6C-EFCD-040465E1B494}"/>
          </ac:picMkLst>
        </pc:picChg>
        <pc:picChg chg="add mod">
          <ac:chgData name="Roberto Gallardo" userId="49a044883f185952" providerId="LiveId" clId="{34201A6A-4C5F-473D-BD2F-4FB52A50645A}" dt="2023-01-16T15:48:09.075" v="91" actId="1076"/>
          <ac:picMkLst>
            <pc:docMk/>
            <pc:sldMk cId="1532666867" sldId="298"/>
            <ac:picMk id="9" creationId="{33A38FA1-243E-FE08-295B-B9072BCBB366}"/>
          </ac:picMkLst>
        </pc:picChg>
      </pc:sldChg>
      <pc:sldChg chg="addSp delSp modSp mod">
        <pc:chgData name="Roberto Gallardo" userId="49a044883f185952" providerId="LiveId" clId="{34201A6A-4C5F-473D-BD2F-4FB52A50645A}" dt="2023-01-16T16:07:33.220" v="354" actId="1076"/>
        <pc:sldMkLst>
          <pc:docMk/>
          <pc:sldMk cId="1951376777" sldId="299"/>
        </pc:sldMkLst>
        <pc:picChg chg="del">
          <ac:chgData name="Roberto Gallardo" userId="49a044883f185952" providerId="LiveId" clId="{34201A6A-4C5F-473D-BD2F-4FB52A50645A}" dt="2023-01-16T15:32:29.697" v="32" actId="478"/>
          <ac:picMkLst>
            <pc:docMk/>
            <pc:sldMk cId="1951376777" sldId="299"/>
            <ac:picMk id="5" creationId="{38E0CDF2-020F-11EC-D7C3-3DA547AAEA6B}"/>
          </ac:picMkLst>
        </pc:picChg>
        <pc:picChg chg="add mod">
          <ac:chgData name="Roberto Gallardo" userId="49a044883f185952" providerId="LiveId" clId="{34201A6A-4C5F-473D-BD2F-4FB52A50645A}" dt="2023-01-16T16:07:33.220" v="354" actId="1076"/>
          <ac:picMkLst>
            <pc:docMk/>
            <pc:sldMk cId="1951376777" sldId="299"/>
            <ac:picMk id="8" creationId="{99F71FF4-9B01-9B33-1C81-34C03D3196F9}"/>
          </ac:picMkLst>
        </pc:picChg>
      </pc:sldChg>
    </pc:docChg>
  </pc:docChgLst>
  <pc:docChgLst>
    <pc:chgData name="Roberto Gallardo" userId="49a044883f185952" providerId="LiveId" clId="{E32CE97C-9B2E-4D90-A77D-B240F65EAD0D}"/>
    <pc:docChg chg="custSel addSld delSld modSld">
      <pc:chgData name="Roberto Gallardo" userId="49a044883f185952" providerId="LiveId" clId="{E32CE97C-9B2E-4D90-A77D-B240F65EAD0D}" dt="2023-01-18T00:30:58.355" v="558"/>
      <pc:docMkLst>
        <pc:docMk/>
      </pc:docMkLst>
      <pc:sldChg chg="modSp mod">
        <pc:chgData name="Roberto Gallardo" userId="49a044883f185952" providerId="LiveId" clId="{E32CE97C-9B2E-4D90-A77D-B240F65EAD0D}" dt="2023-01-16T18:03:07.293" v="66" actId="6549"/>
        <pc:sldMkLst>
          <pc:docMk/>
          <pc:sldMk cId="2846901679" sldId="256"/>
        </pc:sldMkLst>
        <pc:spChg chg="mod">
          <ac:chgData name="Roberto Gallardo" userId="49a044883f185952" providerId="LiveId" clId="{E32CE97C-9B2E-4D90-A77D-B240F65EAD0D}" dt="2023-01-16T18:03:07.293" v="66" actId="6549"/>
          <ac:spMkLst>
            <pc:docMk/>
            <pc:sldMk cId="2846901679" sldId="256"/>
            <ac:spMk id="7" creationId="{B1E0ABEC-554C-720A-2772-F0324C8E93CA}"/>
          </ac:spMkLst>
        </pc:spChg>
      </pc:sldChg>
      <pc:sldChg chg="mod">
        <pc:chgData name="Roberto Gallardo" userId="49a044883f185952" providerId="LiveId" clId="{E32CE97C-9B2E-4D90-A77D-B240F65EAD0D}" dt="2023-01-16T22:29:25.079" v="116" actId="27918"/>
        <pc:sldMkLst>
          <pc:docMk/>
          <pc:sldMk cId="3231157596" sldId="257"/>
        </pc:sldMkLst>
      </pc:sldChg>
      <pc:sldChg chg="mod">
        <pc:chgData name="Roberto Gallardo" userId="49a044883f185952" providerId="LiveId" clId="{E32CE97C-9B2E-4D90-A77D-B240F65EAD0D}" dt="2023-01-16T22:28:02.272" v="104" actId="27918"/>
        <pc:sldMkLst>
          <pc:docMk/>
          <pc:sldMk cId="3702837515" sldId="258"/>
        </pc:sldMkLst>
      </pc:sldChg>
      <pc:sldChg chg="mod">
        <pc:chgData name="Roberto Gallardo" userId="49a044883f185952" providerId="LiveId" clId="{E32CE97C-9B2E-4D90-A77D-B240F65EAD0D}" dt="2023-01-16T22:28:44.264" v="110" actId="27918"/>
        <pc:sldMkLst>
          <pc:docMk/>
          <pc:sldMk cId="2519083202" sldId="259"/>
        </pc:sldMkLst>
      </pc:sldChg>
      <pc:sldChg chg="mod">
        <pc:chgData name="Roberto Gallardo" userId="49a044883f185952" providerId="LiveId" clId="{E32CE97C-9B2E-4D90-A77D-B240F65EAD0D}" dt="2023-01-16T23:05:16.573" v="529" actId="27918"/>
        <pc:sldMkLst>
          <pc:docMk/>
          <pc:sldMk cId="3877078759" sldId="260"/>
        </pc:sldMkLst>
      </pc:sldChg>
      <pc:sldChg chg="mod">
        <pc:chgData name="Roberto Gallardo" userId="49a044883f185952" providerId="LiveId" clId="{E32CE97C-9B2E-4D90-A77D-B240F65EAD0D}" dt="2023-01-16T22:30:43.478" v="128" actId="27918"/>
        <pc:sldMkLst>
          <pc:docMk/>
          <pc:sldMk cId="1175010214" sldId="261"/>
        </pc:sldMkLst>
      </pc:sldChg>
      <pc:sldChg chg="addSp delSp modSp mod">
        <pc:chgData name="Roberto Gallardo" userId="49a044883f185952" providerId="LiveId" clId="{E32CE97C-9B2E-4D90-A77D-B240F65EAD0D}" dt="2023-01-16T22:32:20.178" v="136" actId="1076"/>
        <pc:sldMkLst>
          <pc:docMk/>
          <pc:sldMk cId="1418533539" sldId="271"/>
        </pc:sldMkLst>
        <pc:picChg chg="add mod">
          <ac:chgData name="Roberto Gallardo" userId="49a044883f185952" providerId="LiveId" clId="{E32CE97C-9B2E-4D90-A77D-B240F65EAD0D}" dt="2023-01-16T22:32:20.178" v="136" actId="1076"/>
          <ac:picMkLst>
            <pc:docMk/>
            <pc:sldMk cId="1418533539" sldId="271"/>
            <ac:picMk id="6" creationId="{5E57D8C0-63D8-5C1C-F50D-21A7F202C667}"/>
          </ac:picMkLst>
        </pc:picChg>
        <pc:picChg chg="del">
          <ac:chgData name="Roberto Gallardo" userId="49a044883f185952" providerId="LiveId" clId="{E32CE97C-9B2E-4D90-A77D-B240F65EAD0D}" dt="2023-01-16T18:03:14.471" v="67" actId="478"/>
          <ac:picMkLst>
            <pc:docMk/>
            <pc:sldMk cId="1418533539" sldId="271"/>
            <ac:picMk id="6" creationId="{EEE088EB-87F6-A900-FE3D-5EA89200074C}"/>
          </ac:picMkLst>
        </pc:picChg>
      </pc:sldChg>
      <pc:sldChg chg="mod">
        <pc:chgData name="Roberto Gallardo" userId="49a044883f185952" providerId="LiveId" clId="{E32CE97C-9B2E-4D90-A77D-B240F65EAD0D}" dt="2023-01-16T23:04:59.970" v="526" actId="27918"/>
        <pc:sldMkLst>
          <pc:docMk/>
          <pc:sldMk cId="2653937722" sldId="272"/>
        </pc:sldMkLst>
      </pc:sldChg>
      <pc:sldChg chg="mod">
        <pc:chgData name="Roberto Gallardo" userId="49a044883f185952" providerId="LiveId" clId="{E32CE97C-9B2E-4D90-A77D-B240F65EAD0D}" dt="2023-01-16T22:53:55.455" v="437" actId="27918"/>
        <pc:sldMkLst>
          <pc:docMk/>
          <pc:sldMk cId="2076698419" sldId="273"/>
        </pc:sldMkLst>
      </pc:sldChg>
      <pc:sldChg chg="mod">
        <pc:chgData name="Roberto Gallardo" userId="49a044883f185952" providerId="LiveId" clId="{E32CE97C-9B2E-4D90-A77D-B240F65EAD0D}" dt="2023-01-16T22:55:15.003" v="465" actId="27918"/>
        <pc:sldMkLst>
          <pc:docMk/>
          <pc:sldMk cId="3802335161" sldId="274"/>
        </pc:sldMkLst>
      </pc:sldChg>
      <pc:sldChg chg="mod">
        <pc:chgData name="Roberto Gallardo" userId="49a044883f185952" providerId="LiveId" clId="{E32CE97C-9B2E-4D90-A77D-B240F65EAD0D}" dt="2023-01-16T22:56:02.054" v="473" actId="27918"/>
        <pc:sldMkLst>
          <pc:docMk/>
          <pc:sldMk cId="4292554322" sldId="275"/>
        </pc:sldMkLst>
      </pc:sldChg>
      <pc:sldChg chg="modSp mod">
        <pc:chgData name="Roberto Gallardo" userId="49a044883f185952" providerId="LiveId" clId="{E32CE97C-9B2E-4D90-A77D-B240F65EAD0D}" dt="2023-01-16T22:54:50.372" v="461" actId="1035"/>
        <pc:sldMkLst>
          <pc:docMk/>
          <pc:sldMk cId="513409896" sldId="276"/>
        </pc:sldMkLst>
        <pc:spChg chg="mod">
          <ac:chgData name="Roberto Gallardo" userId="49a044883f185952" providerId="LiveId" clId="{E32CE97C-9B2E-4D90-A77D-B240F65EAD0D}" dt="2023-01-16T22:54:45.416" v="453" actId="1035"/>
          <ac:spMkLst>
            <pc:docMk/>
            <pc:sldMk cId="513409896" sldId="276"/>
            <ac:spMk id="21" creationId="{9A68ADBE-AECC-EE60-7E94-3675B33E08AE}"/>
          </ac:spMkLst>
        </pc:spChg>
        <pc:cxnChg chg="mod">
          <ac:chgData name="Roberto Gallardo" userId="49a044883f185952" providerId="LiveId" clId="{E32CE97C-9B2E-4D90-A77D-B240F65EAD0D}" dt="2023-01-16T22:54:50.372" v="461" actId="1035"/>
          <ac:cxnSpMkLst>
            <pc:docMk/>
            <pc:sldMk cId="513409896" sldId="276"/>
            <ac:cxnSpMk id="22" creationId="{1B423FA0-E4B3-6570-929B-A9283D503787}"/>
          </ac:cxnSpMkLst>
        </pc:cxnChg>
        <pc:cxnChg chg="mod">
          <ac:chgData name="Roberto Gallardo" userId="49a044883f185952" providerId="LiveId" clId="{E32CE97C-9B2E-4D90-A77D-B240F65EAD0D}" dt="2023-01-16T22:54:40.426" v="447" actId="1036"/>
          <ac:cxnSpMkLst>
            <pc:docMk/>
            <pc:sldMk cId="513409896" sldId="276"/>
            <ac:cxnSpMk id="23" creationId="{D616797E-0044-3804-BA5A-23B8EB309CA5}"/>
          </ac:cxnSpMkLst>
        </pc:cxnChg>
        <pc:cxnChg chg="mod">
          <ac:chgData name="Roberto Gallardo" userId="49a044883f185952" providerId="LiveId" clId="{E32CE97C-9B2E-4D90-A77D-B240F65EAD0D}" dt="2023-01-16T22:54:40.426" v="447" actId="1036"/>
          <ac:cxnSpMkLst>
            <pc:docMk/>
            <pc:sldMk cId="513409896" sldId="276"/>
            <ac:cxnSpMk id="24" creationId="{20A6256E-6780-BAE0-B803-D02FE024579F}"/>
          </ac:cxnSpMkLst>
        </pc:cxnChg>
        <pc:cxnChg chg="mod">
          <ac:chgData name="Roberto Gallardo" userId="49a044883f185952" providerId="LiveId" clId="{E32CE97C-9B2E-4D90-A77D-B240F65EAD0D}" dt="2023-01-16T22:54:50.372" v="461" actId="1035"/>
          <ac:cxnSpMkLst>
            <pc:docMk/>
            <pc:sldMk cId="513409896" sldId="276"/>
            <ac:cxnSpMk id="25" creationId="{62B7492E-2C75-E0CD-947E-C582F412F7D7}"/>
          </ac:cxnSpMkLst>
        </pc:cxnChg>
      </pc:sldChg>
      <pc:sldChg chg="mod">
        <pc:chgData name="Roberto Gallardo" userId="49a044883f185952" providerId="LiveId" clId="{E32CE97C-9B2E-4D90-A77D-B240F65EAD0D}" dt="2023-01-16T22:52:54.987" v="429" actId="27918"/>
        <pc:sldMkLst>
          <pc:docMk/>
          <pc:sldMk cId="349244952" sldId="278"/>
        </pc:sldMkLst>
      </pc:sldChg>
      <pc:sldChg chg="addSp delSp modSp mod">
        <pc:chgData name="Roberto Gallardo" userId="49a044883f185952" providerId="LiveId" clId="{E32CE97C-9B2E-4D90-A77D-B240F65EAD0D}" dt="2023-01-16T22:38:30.210" v="218" actId="1076"/>
        <pc:sldMkLst>
          <pc:docMk/>
          <pc:sldMk cId="2124848710" sldId="281"/>
        </pc:sldMkLst>
        <pc:picChg chg="del">
          <ac:chgData name="Roberto Gallardo" userId="49a044883f185952" providerId="LiveId" clId="{E32CE97C-9B2E-4D90-A77D-B240F65EAD0D}" dt="2023-01-16T18:03:24.703" v="73" actId="478"/>
          <ac:picMkLst>
            <pc:docMk/>
            <pc:sldMk cId="2124848710" sldId="281"/>
            <ac:picMk id="5" creationId="{973C2525-FACA-3A61-D9A6-550A037DE86E}"/>
          </ac:picMkLst>
        </pc:picChg>
        <pc:picChg chg="add mod">
          <ac:chgData name="Roberto Gallardo" userId="49a044883f185952" providerId="LiveId" clId="{E32CE97C-9B2E-4D90-A77D-B240F65EAD0D}" dt="2023-01-16T22:38:30.210" v="218" actId="1076"/>
          <ac:picMkLst>
            <pc:docMk/>
            <pc:sldMk cId="2124848710" sldId="281"/>
            <ac:picMk id="5" creationId="{9AA3C4F8-B46F-97EF-2908-ECF5028B173B}"/>
          </ac:picMkLst>
        </pc:picChg>
      </pc:sldChg>
      <pc:sldChg chg="addSp delSp modSp mod">
        <pc:chgData name="Roberto Gallardo" userId="49a044883f185952" providerId="LiveId" clId="{E32CE97C-9B2E-4D90-A77D-B240F65EAD0D}" dt="2023-01-16T22:39:37.818" v="235" actId="1076"/>
        <pc:sldMkLst>
          <pc:docMk/>
          <pc:sldMk cId="2028175529" sldId="282"/>
        </pc:sldMkLst>
        <pc:picChg chg="add mod">
          <ac:chgData name="Roberto Gallardo" userId="49a044883f185952" providerId="LiveId" clId="{E32CE97C-9B2E-4D90-A77D-B240F65EAD0D}" dt="2023-01-16T22:39:37.818" v="235" actId="1076"/>
          <ac:picMkLst>
            <pc:docMk/>
            <pc:sldMk cId="2028175529" sldId="282"/>
            <ac:picMk id="5" creationId="{630DFC5F-36A5-C702-BF63-7BF8421EE2DA}"/>
          </ac:picMkLst>
        </pc:picChg>
        <pc:picChg chg="del">
          <ac:chgData name="Roberto Gallardo" userId="49a044883f185952" providerId="LiveId" clId="{E32CE97C-9B2E-4D90-A77D-B240F65EAD0D}" dt="2023-01-16T18:03:26.448" v="74" actId="478"/>
          <ac:picMkLst>
            <pc:docMk/>
            <pc:sldMk cId="2028175529" sldId="282"/>
            <ac:picMk id="8" creationId="{CCC8D008-EE63-E929-0128-4D3447357ED7}"/>
          </ac:picMkLst>
        </pc:picChg>
      </pc:sldChg>
      <pc:sldChg chg="addSp delSp modSp mod">
        <pc:chgData name="Roberto Gallardo" userId="49a044883f185952" providerId="LiveId" clId="{E32CE97C-9B2E-4D90-A77D-B240F65EAD0D}" dt="2023-01-16T22:40:48.654" v="251" actId="1076"/>
        <pc:sldMkLst>
          <pc:docMk/>
          <pc:sldMk cId="1326517747" sldId="283"/>
        </pc:sldMkLst>
        <pc:picChg chg="add mod">
          <ac:chgData name="Roberto Gallardo" userId="49a044883f185952" providerId="LiveId" clId="{E32CE97C-9B2E-4D90-A77D-B240F65EAD0D}" dt="2023-01-16T22:40:48.654" v="251" actId="1076"/>
          <ac:picMkLst>
            <pc:docMk/>
            <pc:sldMk cId="1326517747" sldId="283"/>
            <ac:picMk id="5" creationId="{F1D74F7C-6DBE-3F8E-57C9-38A7FA7C9F9F}"/>
          </ac:picMkLst>
        </pc:picChg>
        <pc:picChg chg="del">
          <ac:chgData name="Roberto Gallardo" userId="49a044883f185952" providerId="LiveId" clId="{E32CE97C-9B2E-4D90-A77D-B240F65EAD0D}" dt="2023-01-16T18:03:28.493" v="75" actId="478"/>
          <ac:picMkLst>
            <pc:docMk/>
            <pc:sldMk cId="1326517747" sldId="283"/>
            <ac:picMk id="8" creationId="{D40FEE81-55D5-C86D-08E6-102FD925CACD}"/>
          </ac:picMkLst>
        </pc:picChg>
      </pc:sldChg>
      <pc:sldChg chg="addSp delSp modSp mod">
        <pc:chgData name="Roberto Gallardo" userId="49a044883f185952" providerId="LiveId" clId="{E32CE97C-9B2E-4D90-A77D-B240F65EAD0D}" dt="2023-01-16T22:42:06.684" v="273" actId="1037"/>
        <pc:sldMkLst>
          <pc:docMk/>
          <pc:sldMk cId="783739251" sldId="284"/>
        </pc:sldMkLst>
        <pc:picChg chg="add mod">
          <ac:chgData name="Roberto Gallardo" userId="49a044883f185952" providerId="LiveId" clId="{E32CE97C-9B2E-4D90-A77D-B240F65EAD0D}" dt="2023-01-16T22:42:06.684" v="273" actId="1037"/>
          <ac:picMkLst>
            <pc:docMk/>
            <pc:sldMk cId="783739251" sldId="284"/>
            <ac:picMk id="5" creationId="{9D78E767-7FBF-77D3-E406-877864ACF9B1}"/>
          </ac:picMkLst>
        </pc:picChg>
        <pc:picChg chg="del">
          <ac:chgData name="Roberto Gallardo" userId="49a044883f185952" providerId="LiveId" clId="{E32CE97C-9B2E-4D90-A77D-B240F65EAD0D}" dt="2023-01-16T18:03:30.387" v="76" actId="478"/>
          <ac:picMkLst>
            <pc:docMk/>
            <pc:sldMk cId="783739251" sldId="284"/>
            <ac:picMk id="8" creationId="{C8E65C83-6AAA-6874-5A47-5840562F357A}"/>
          </ac:picMkLst>
        </pc:picChg>
      </pc:sldChg>
      <pc:sldChg chg="addSp delSp modSp mod">
        <pc:chgData name="Roberto Gallardo" userId="49a044883f185952" providerId="LiveId" clId="{E32CE97C-9B2E-4D90-A77D-B240F65EAD0D}" dt="2023-01-16T22:43:23.123" v="289" actId="1076"/>
        <pc:sldMkLst>
          <pc:docMk/>
          <pc:sldMk cId="1676122233" sldId="285"/>
        </pc:sldMkLst>
        <pc:picChg chg="add mod">
          <ac:chgData name="Roberto Gallardo" userId="49a044883f185952" providerId="LiveId" clId="{E32CE97C-9B2E-4D90-A77D-B240F65EAD0D}" dt="2023-01-16T22:43:23.123" v="289" actId="1076"/>
          <ac:picMkLst>
            <pc:docMk/>
            <pc:sldMk cId="1676122233" sldId="285"/>
            <ac:picMk id="5" creationId="{F3CBA22E-AAEE-A2AE-9C8A-FC327F5C329E}"/>
          </ac:picMkLst>
        </pc:picChg>
        <pc:picChg chg="del">
          <ac:chgData name="Roberto Gallardo" userId="49a044883f185952" providerId="LiveId" clId="{E32CE97C-9B2E-4D90-A77D-B240F65EAD0D}" dt="2023-01-16T18:03:32.388" v="77" actId="478"/>
          <ac:picMkLst>
            <pc:docMk/>
            <pc:sldMk cId="1676122233" sldId="285"/>
            <ac:picMk id="8" creationId="{DB2F6590-6A49-4B47-388D-D0DD632E18C8}"/>
          </ac:picMkLst>
        </pc:picChg>
      </pc:sldChg>
      <pc:sldChg chg="addSp delSp modSp mod">
        <pc:chgData name="Roberto Gallardo" userId="49a044883f185952" providerId="LiveId" clId="{E32CE97C-9B2E-4D90-A77D-B240F65EAD0D}" dt="2023-01-16T22:44:23.824" v="304" actId="1076"/>
        <pc:sldMkLst>
          <pc:docMk/>
          <pc:sldMk cId="3100398757" sldId="286"/>
        </pc:sldMkLst>
        <pc:picChg chg="add mod">
          <ac:chgData name="Roberto Gallardo" userId="49a044883f185952" providerId="LiveId" clId="{E32CE97C-9B2E-4D90-A77D-B240F65EAD0D}" dt="2023-01-16T22:44:23.824" v="304" actId="1076"/>
          <ac:picMkLst>
            <pc:docMk/>
            <pc:sldMk cId="3100398757" sldId="286"/>
            <ac:picMk id="5" creationId="{C56D2148-63CF-B81D-EFB5-2B7F6219FF48}"/>
          </ac:picMkLst>
        </pc:picChg>
        <pc:picChg chg="del">
          <ac:chgData name="Roberto Gallardo" userId="49a044883f185952" providerId="LiveId" clId="{E32CE97C-9B2E-4D90-A77D-B240F65EAD0D}" dt="2023-01-16T18:03:37.692" v="78" actId="478"/>
          <ac:picMkLst>
            <pc:docMk/>
            <pc:sldMk cId="3100398757" sldId="286"/>
            <ac:picMk id="8" creationId="{95507716-2407-BF86-C3FD-E6BD5869DB33}"/>
          </ac:picMkLst>
        </pc:picChg>
      </pc:sldChg>
      <pc:sldChg chg="addSp delSp modSp mod">
        <pc:chgData name="Roberto Gallardo" userId="49a044883f185952" providerId="LiveId" clId="{E32CE97C-9B2E-4D90-A77D-B240F65EAD0D}" dt="2023-01-16T22:45:33.979" v="322" actId="1076"/>
        <pc:sldMkLst>
          <pc:docMk/>
          <pc:sldMk cId="1546475425" sldId="287"/>
        </pc:sldMkLst>
        <pc:picChg chg="add mod">
          <ac:chgData name="Roberto Gallardo" userId="49a044883f185952" providerId="LiveId" clId="{E32CE97C-9B2E-4D90-A77D-B240F65EAD0D}" dt="2023-01-16T22:45:33.979" v="322" actId="1076"/>
          <ac:picMkLst>
            <pc:docMk/>
            <pc:sldMk cId="1546475425" sldId="287"/>
            <ac:picMk id="5" creationId="{91AC35FF-E3CE-C0BE-4BE6-A5EBB740DE3E}"/>
          </ac:picMkLst>
        </pc:picChg>
        <pc:picChg chg="del">
          <ac:chgData name="Roberto Gallardo" userId="49a044883f185952" providerId="LiveId" clId="{E32CE97C-9B2E-4D90-A77D-B240F65EAD0D}" dt="2023-01-16T18:03:39.710" v="79" actId="478"/>
          <ac:picMkLst>
            <pc:docMk/>
            <pc:sldMk cId="1546475425" sldId="287"/>
            <ac:picMk id="8" creationId="{21A5683A-DA0C-40C3-69C8-A9E32864B426}"/>
          </ac:picMkLst>
        </pc:picChg>
      </pc:sldChg>
      <pc:sldChg chg="addSp delSp modSp mod">
        <pc:chgData name="Roberto Gallardo" userId="49a044883f185952" providerId="LiveId" clId="{E32CE97C-9B2E-4D90-A77D-B240F65EAD0D}" dt="2023-01-16T22:48:00.134" v="354" actId="1076"/>
        <pc:sldMkLst>
          <pc:docMk/>
          <pc:sldMk cId="1380517306" sldId="288"/>
        </pc:sldMkLst>
        <pc:picChg chg="add mod">
          <ac:chgData name="Roberto Gallardo" userId="49a044883f185952" providerId="LiveId" clId="{E32CE97C-9B2E-4D90-A77D-B240F65EAD0D}" dt="2023-01-16T22:48:00.134" v="354" actId="1076"/>
          <ac:picMkLst>
            <pc:docMk/>
            <pc:sldMk cId="1380517306" sldId="288"/>
            <ac:picMk id="5" creationId="{1A910B78-8F56-95D5-FDBD-F6FA794165F5}"/>
          </ac:picMkLst>
        </pc:picChg>
        <pc:picChg chg="del">
          <ac:chgData name="Roberto Gallardo" userId="49a044883f185952" providerId="LiveId" clId="{E32CE97C-9B2E-4D90-A77D-B240F65EAD0D}" dt="2023-01-16T18:03:43.409" v="81" actId="478"/>
          <ac:picMkLst>
            <pc:docMk/>
            <pc:sldMk cId="1380517306" sldId="288"/>
            <ac:picMk id="8" creationId="{CE7F72BC-37F2-F863-8CD3-6EF2433ED31C}"/>
          </ac:picMkLst>
        </pc:picChg>
      </pc:sldChg>
      <pc:sldChg chg="addSp delSp modSp mod">
        <pc:chgData name="Roberto Gallardo" userId="49a044883f185952" providerId="LiveId" clId="{E32CE97C-9B2E-4D90-A77D-B240F65EAD0D}" dt="2023-01-16T22:49:02.283" v="371" actId="1076"/>
        <pc:sldMkLst>
          <pc:docMk/>
          <pc:sldMk cId="1388671151" sldId="289"/>
        </pc:sldMkLst>
        <pc:picChg chg="add mod">
          <ac:chgData name="Roberto Gallardo" userId="49a044883f185952" providerId="LiveId" clId="{E32CE97C-9B2E-4D90-A77D-B240F65EAD0D}" dt="2023-01-16T22:49:02.283" v="371" actId="1076"/>
          <ac:picMkLst>
            <pc:docMk/>
            <pc:sldMk cId="1388671151" sldId="289"/>
            <ac:picMk id="5" creationId="{04AF074B-994E-CBCD-0ECE-850DA62911B6}"/>
          </ac:picMkLst>
        </pc:picChg>
        <pc:picChg chg="del">
          <ac:chgData name="Roberto Gallardo" userId="49a044883f185952" providerId="LiveId" clId="{E32CE97C-9B2E-4D90-A77D-B240F65EAD0D}" dt="2023-01-16T18:03:45.183" v="82" actId="478"/>
          <ac:picMkLst>
            <pc:docMk/>
            <pc:sldMk cId="1388671151" sldId="289"/>
            <ac:picMk id="8" creationId="{F3FE0AB7-122D-79DA-B552-C089EEBD7C92}"/>
          </ac:picMkLst>
        </pc:picChg>
      </pc:sldChg>
      <pc:sldChg chg="addSp delSp modSp mod">
        <pc:chgData name="Roberto Gallardo" userId="49a044883f185952" providerId="LiveId" clId="{E32CE97C-9B2E-4D90-A77D-B240F65EAD0D}" dt="2023-01-16T22:51:18.826" v="402" actId="1076"/>
        <pc:sldMkLst>
          <pc:docMk/>
          <pc:sldMk cId="2355376039" sldId="290"/>
        </pc:sldMkLst>
        <pc:picChg chg="del">
          <ac:chgData name="Roberto Gallardo" userId="49a044883f185952" providerId="LiveId" clId="{E32CE97C-9B2E-4D90-A77D-B240F65EAD0D}" dt="2023-01-16T18:03:48.790" v="84" actId="478"/>
          <ac:picMkLst>
            <pc:docMk/>
            <pc:sldMk cId="2355376039" sldId="290"/>
            <ac:picMk id="8" creationId="{292A7343-9E9A-2EB6-6F8A-D85E97F05D89}"/>
          </ac:picMkLst>
        </pc:picChg>
        <pc:picChg chg="add mod">
          <ac:chgData name="Roberto Gallardo" userId="49a044883f185952" providerId="LiveId" clId="{E32CE97C-9B2E-4D90-A77D-B240F65EAD0D}" dt="2023-01-16T22:51:18.826" v="402" actId="1076"/>
          <ac:picMkLst>
            <pc:docMk/>
            <pc:sldMk cId="2355376039" sldId="290"/>
            <ac:picMk id="8" creationId="{952305CB-4C88-1BD0-C98B-27CA96D89E63}"/>
          </ac:picMkLst>
        </pc:picChg>
      </pc:sldChg>
      <pc:sldChg chg="addSp delSp modSp mod">
        <pc:chgData name="Roberto Gallardo" userId="49a044883f185952" providerId="LiveId" clId="{E32CE97C-9B2E-4D90-A77D-B240F65EAD0D}" dt="2023-01-16T22:52:19.582" v="424" actId="1037"/>
        <pc:sldMkLst>
          <pc:docMk/>
          <pc:sldMk cId="3757257295" sldId="291"/>
        </pc:sldMkLst>
        <pc:picChg chg="add mod">
          <ac:chgData name="Roberto Gallardo" userId="49a044883f185952" providerId="LiveId" clId="{E32CE97C-9B2E-4D90-A77D-B240F65EAD0D}" dt="2023-01-16T22:52:19.582" v="424" actId="1037"/>
          <ac:picMkLst>
            <pc:docMk/>
            <pc:sldMk cId="3757257295" sldId="291"/>
            <ac:picMk id="7" creationId="{3ECDE44B-F43E-59BA-10CA-B1CFB754C45F}"/>
          </ac:picMkLst>
        </pc:picChg>
        <pc:picChg chg="del">
          <ac:chgData name="Roberto Gallardo" userId="49a044883f185952" providerId="LiveId" clId="{E32CE97C-9B2E-4D90-A77D-B240F65EAD0D}" dt="2023-01-16T18:03:50.446" v="85" actId="478"/>
          <ac:picMkLst>
            <pc:docMk/>
            <pc:sldMk cId="3757257295" sldId="291"/>
            <ac:picMk id="8" creationId="{348A5F9E-6780-2EBB-936C-EA6FBBA46953}"/>
          </ac:picMkLst>
        </pc:picChg>
      </pc:sldChg>
      <pc:sldChg chg="addSp delSp modSp mod">
        <pc:chgData name="Roberto Gallardo" userId="49a044883f185952" providerId="LiveId" clId="{E32CE97C-9B2E-4D90-A77D-B240F65EAD0D}" dt="2023-01-16T22:46:56.727" v="336" actId="1076"/>
        <pc:sldMkLst>
          <pc:docMk/>
          <pc:sldMk cId="1259856727" sldId="292"/>
        </pc:sldMkLst>
        <pc:picChg chg="add mod">
          <ac:chgData name="Roberto Gallardo" userId="49a044883f185952" providerId="LiveId" clId="{E32CE97C-9B2E-4D90-A77D-B240F65EAD0D}" dt="2023-01-16T22:46:56.727" v="336" actId="1076"/>
          <ac:picMkLst>
            <pc:docMk/>
            <pc:sldMk cId="1259856727" sldId="292"/>
            <ac:picMk id="5" creationId="{E80F9BC2-F703-0171-D209-59D7869CA582}"/>
          </ac:picMkLst>
        </pc:picChg>
        <pc:picChg chg="del">
          <ac:chgData name="Roberto Gallardo" userId="49a044883f185952" providerId="LiveId" clId="{E32CE97C-9B2E-4D90-A77D-B240F65EAD0D}" dt="2023-01-16T18:03:41.611" v="80" actId="478"/>
          <ac:picMkLst>
            <pc:docMk/>
            <pc:sldMk cId="1259856727" sldId="292"/>
            <ac:picMk id="8" creationId="{9B864A74-4648-DD29-217B-8593D0F156D2}"/>
          </ac:picMkLst>
        </pc:picChg>
      </pc:sldChg>
      <pc:sldChg chg="addSp delSp modSp mod">
        <pc:chgData name="Roberto Gallardo" userId="49a044883f185952" providerId="LiveId" clId="{E32CE97C-9B2E-4D90-A77D-B240F65EAD0D}" dt="2023-01-18T00:30:58.355" v="558"/>
        <pc:sldMkLst>
          <pc:docMk/>
          <pc:sldMk cId="3324519687" sldId="293"/>
        </pc:sldMkLst>
        <pc:spChg chg="del">
          <ac:chgData name="Roberto Gallardo" userId="49a044883f185952" providerId="LiveId" clId="{E32CE97C-9B2E-4D90-A77D-B240F65EAD0D}" dt="2023-01-18T00:30:58.081" v="557" actId="478"/>
          <ac:spMkLst>
            <pc:docMk/>
            <pc:sldMk cId="3324519687" sldId="293"/>
            <ac:spMk id="3" creationId="{AF651823-818E-912D-E331-CDEB914505A8}"/>
          </ac:spMkLst>
        </pc:spChg>
        <pc:spChg chg="add mod">
          <ac:chgData name="Roberto Gallardo" userId="49a044883f185952" providerId="LiveId" clId="{E32CE97C-9B2E-4D90-A77D-B240F65EAD0D}" dt="2023-01-18T00:30:58.355" v="558"/>
          <ac:spMkLst>
            <pc:docMk/>
            <pc:sldMk cId="3324519687" sldId="293"/>
            <ac:spMk id="5" creationId="{BF299FA5-E77C-49FE-8DFD-7C8A5DCA38AB}"/>
          </ac:spMkLst>
        </pc:spChg>
        <pc:picChg chg="add mod">
          <ac:chgData name="Roberto Gallardo" userId="49a044883f185952" providerId="LiveId" clId="{E32CE97C-9B2E-4D90-A77D-B240F65EAD0D}" dt="2023-01-16T22:37:15.735" v="202" actId="1076"/>
          <ac:picMkLst>
            <pc:docMk/>
            <pc:sldMk cId="3324519687" sldId="293"/>
            <ac:picMk id="7" creationId="{A51781D8-667F-7226-0419-CE0D577FE304}"/>
          </ac:picMkLst>
        </pc:picChg>
        <pc:picChg chg="del">
          <ac:chgData name="Roberto Gallardo" userId="49a044883f185952" providerId="LiveId" clId="{E32CE97C-9B2E-4D90-A77D-B240F65EAD0D}" dt="2023-01-16T18:03:22.895" v="72" actId="478"/>
          <ac:picMkLst>
            <pc:docMk/>
            <pc:sldMk cId="3324519687" sldId="293"/>
            <ac:picMk id="8" creationId="{D6B83BAD-4EC0-3C11-9371-DD4743DFD5F4}"/>
          </ac:picMkLst>
        </pc:picChg>
      </pc:sldChg>
      <pc:sldChg chg="addSp delSp modSp mod">
        <pc:chgData name="Roberto Gallardo" userId="49a044883f185952" providerId="LiveId" clId="{E32CE97C-9B2E-4D90-A77D-B240F65EAD0D}" dt="2023-01-16T23:02:12.980" v="501" actId="1076"/>
        <pc:sldMkLst>
          <pc:docMk/>
          <pc:sldMk cId="3256182630" sldId="295"/>
        </pc:sldMkLst>
        <pc:picChg chg="add del mod">
          <ac:chgData name="Roberto Gallardo" userId="49a044883f185952" providerId="LiveId" clId="{E32CE97C-9B2E-4D90-A77D-B240F65EAD0D}" dt="2023-01-16T22:57:42.101" v="479" actId="478"/>
          <ac:picMkLst>
            <pc:docMk/>
            <pc:sldMk cId="3256182630" sldId="295"/>
            <ac:picMk id="6" creationId="{59D2D656-8500-91B1-9AF7-D3FEFDB74B2C}"/>
          </ac:picMkLst>
        </pc:picChg>
        <pc:picChg chg="del">
          <ac:chgData name="Roberto Gallardo" userId="49a044883f185952" providerId="LiveId" clId="{E32CE97C-9B2E-4D90-A77D-B240F65EAD0D}" dt="2023-01-16T18:03:19.438" v="70" actId="478"/>
          <ac:picMkLst>
            <pc:docMk/>
            <pc:sldMk cId="3256182630" sldId="295"/>
            <ac:picMk id="6" creationId="{6A9B2405-F879-552B-AA8A-22E25C957211}"/>
          </ac:picMkLst>
        </pc:picChg>
        <pc:picChg chg="add del mod">
          <ac:chgData name="Roberto Gallardo" userId="49a044883f185952" providerId="LiveId" clId="{E32CE97C-9B2E-4D90-A77D-B240F65EAD0D}" dt="2023-01-16T23:00:55.683" v="493" actId="21"/>
          <ac:picMkLst>
            <pc:docMk/>
            <pc:sldMk cId="3256182630" sldId="295"/>
            <ac:picMk id="9" creationId="{7A6C78D7-5386-0698-601E-7B4D7A093386}"/>
          </ac:picMkLst>
        </pc:picChg>
        <pc:picChg chg="add mod">
          <ac:chgData name="Roberto Gallardo" userId="49a044883f185952" providerId="LiveId" clId="{E32CE97C-9B2E-4D90-A77D-B240F65EAD0D}" dt="2023-01-16T23:02:12.980" v="501" actId="1076"/>
          <ac:picMkLst>
            <pc:docMk/>
            <pc:sldMk cId="3256182630" sldId="295"/>
            <ac:picMk id="11" creationId="{3DDB9173-C0A2-0FDE-CC31-20B9F49AD749}"/>
          </ac:picMkLst>
        </pc:picChg>
      </pc:sldChg>
      <pc:sldChg chg="addSp delSp modSp mod">
        <pc:chgData name="Roberto Gallardo" userId="49a044883f185952" providerId="LiveId" clId="{E32CE97C-9B2E-4D90-A77D-B240F65EAD0D}" dt="2023-01-16T23:00:57.404" v="494"/>
        <pc:sldMkLst>
          <pc:docMk/>
          <pc:sldMk cId="4057156843" sldId="296"/>
        </pc:sldMkLst>
        <pc:picChg chg="add del mod">
          <ac:chgData name="Roberto Gallardo" userId="49a044883f185952" providerId="LiveId" clId="{E32CE97C-9B2E-4D90-A77D-B240F65EAD0D}" dt="2023-01-16T22:58:05.763" v="488" actId="478"/>
          <ac:picMkLst>
            <pc:docMk/>
            <pc:sldMk cId="4057156843" sldId="296"/>
            <ac:picMk id="6" creationId="{A9AC271D-3C9A-E36E-1C82-6E47288B105D}"/>
          </ac:picMkLst>
        </pc:picChg>
        <pc:picChg chg="del">
          <ac:chgData name="Roberto Gallardo" userId="49a044883f185952" providerId="LiveId" clId="{E32CE97C-9B2E-4D90-A77D-B240F65EAD0D}" dt="2023-01-16T18:03:20.816" v="71" actId="478"/>
          <ac:picMkLst>
            <pc:docMk/>
            <pc:sldMk cId="4057156843" sldId="296"/>
            <ac:picMk id="7" creationId="{EC92559A-9192-C8D2-3961-A09CF0C86019}"/>
          </ac:picMkLst>
        </pc:picChg>
        <pc:picChg chg="add del mod">
          <ac:chgData name="Roberto Gallardo" userId="49a044883f185952" providerId="LiveId" clId="{E32CE97C-9B2E-4D90-A77D-B240F65EAD0D}" dt="2023-01-16T22:58:16.420" v="492" actId="478"/>
          <ac:picMkLst>
            <pc:docMk/>
            <pc:sldMk cId="4057156843" sldId="296"/>
            <ac:picMk id="9" creationId="{53A887B7-144B-107A-2DA0-A98367F3F1D4}"/>
          </ac:picMkLst>
        </pc:picChg>
        <pc:picChg chg="add mod">
          <ac:chgData name="Roberto Gallardo" userId="49a044883f185952" providerId="LiveId" clId="{E32CE97C-9B2E-4D90-A77D-B240F65EAD0D}" dt="2023-01-16T23:00:57.404" v="494"/>
          <ac:picMkLst>
            <pc:docMk/>
            <pc:sldMk cId="4057156843" sldId="296"/>
            <ac:picMk id="10" creationId="{0806E52E-78DF-6398-ECDC-6954DCDCCCD7}"/>
          </ac:picMkLst>
        </pc:picChg>
      </pc:sldChg>
      <pc:sldChg chg="addSp delSp modSp mod">
        <pc:chgData name="Roberto Gallardo" userId="49a044883f185952" providerId="LiveId" clId="{E32CE97C-9B2E-4D90-A77D-B240F65EAD0D}" dt="2023-01-16T23:02:48.816" v="510" actId="1076"/>
        <pc:sldMkLst>
          <pc:docMk/>
          <pc:sldMk cId="2080110827" sldId="297"/>
        </pc:sldMkLst>
        <pc:picChg chg="add del mod">
          <ac:chgData name="Roberto Gallardo" userId="49a044883f185952" providerId="LiveId" clId="{E32CE97C-9B2E-4D90-A77D-B240F65EAD0D}" dt="2023-01-16T23:02:28.451" v="502" actId="478"/>
          <ac:picMkLst>
            <pc:docMk/>
            <pc:sldMk cId="2080110827" sldId="297"/>
            <ac:picMk id="6" creationId="{1CC97DDC-B788-C098-A01E-1C9CD8BADEE6}"/>
          </ac:picMkLst>
        </pc:picChg>
        <pc:picChg chg="del">
          <ac:chgData name="Roberto Gallardo" userId="49a044883f185952" providerId="LiveId" clId="{E32CE97C-9B2E-4D90-A77D-B240F65EAD0D}" dt="2023-01-16T18:03:17.289" v="69" actId="478"/>
          <ac:picMkLst>
            <pc:docMk/>
            <pc:sldMk cId="2080110827" sldId="297"/>
            <ac:picMk id="7" creationId="{ECDD200D-BA62-C2CB-B651-79A4ECAEADFF}"/>
          </ac:picMkLst>
        </pc:picChg>
        <pc:picChg chg="add mod">
          <ac:chgData name="Roberto Gallardo" userId="49a044883f185952" providerId="LiveId" clId="{E32CE97C-9B2E-4D90-A77D-B240F65EAD0D}" dt="2023-01-16T23:02:48.816" v="510" actId="1076"/>
          <ac:picMkLst>
            <pc:docMk/>
            <pc:sldMk cId="2080110827" sldId="297"/>
            <ac:picMk id="8" creationId="{129DB15C-6CAC-5DC4-EF99-93E21E349676}"/>
          </ac:picMkLst>
        </pc:picChg>
      </pc:sldChg>
      <pc:sldChg chg="addSp delSp modSp mod">
        <pc:chgData name="Roberto Gallardo" userId="49a044883f185952" providerId="LiveId" clId="{E32CE97C-9B2E-4D90-A77D-B240F65EAD0D}" dt="2023-01-16T23:04:14.864" v="523" actId="1076"/>
        <pc:sldMkLst>
          <pc:docMk/>
          <pc:sldMk cId="1532666867" sldId="298"/>
        </pc:sldMkLst>
        <pc:picChg chg="add del mod">
          <ac:chgData name="Roberto Gallardo" userId="49a044883f185952" providerId="LiveId" clId="{E32CE97C-9B2E-4D90-A77D-B240F65EAD0D}" dt="2023-01-16T23:02:54" v="511" actId="478"/>
          <ac:picMkLst>
            <pc:docMk/>
            <pc:sldMk cId="1532666867" sldId="298"/>
            <ac:picMk id="6" creationId="{3049414A-B1BA-102C-7A18-1AAAF9D0FB38}"/>
          </ac:picMkLst>
        </pc:picChg>
        <pc:picChg chg="del">
          <ac:chgData name="Roberto Gallardo" userId="49a044883f185952" providerId="LiveId" clId="{E32CE97C-9B2E-4D90-A77D-B240F65EAD0D}" dt="2023-01-16T18:03:15.857" v="68" actId="478"/>
          <ac:picMkLst>
            <pc:docMk/>
            <pc:sldMk cId="1532666867" sldId="298"/>
            <ac:picMk id="6" creationId="{8BDD2F68-198D-8364-A6DE-C0752DEE11DC}"/>
          </ac:picMkLst>
        </pc:picChg>
        <pc:picChg chg="add del mod">
          <ac:chgData name="Roberto Gallardo" userId="49a044883f185952" providerId="LiveId" clId="{E32CE97C-9B2E-4D90-A77D-B240F65EAD0D}" dt="2023-01-16T23:03:12.303" v="515" actId="478"/>
          <ac:picMkLst>
            <pc:docMk/>
            <pc:sldMk cId="1532666867" sldId="298"/>
            <ac:picMk id="8" creationId="{98B6C519-D901-0C4E-1D0E-4A9A6F48E5C1}"/>
          </ac:picMkLst>
        </pc:picChg>
        <pc:picChg chg="add mod">
          <ac:chgData name="Roberto Gallardo" userId="49a044883f185952" providerId="LiveId" clId="{E32CE97C-9B2E-4D90-A77D-B240F65EAD0D}" dt="2023-01-16T23:04:14.864" v="523" actId="1076"/>
          <ac:picMkLst>
            <pc:docMk/>
            <pc:sldMk cId="1532666867" sldId="298"/>
            <ac:picMk id="10" creationId="{D54607AD-0D88-D9E3-EA04-8EE55CEDD627}"/>
          </ac:picMkLst>
        </pc:picChg>
      </pc:sldChg>
      <pc:sldChg chg="addSp delSp modSp mod">
        <pc:chgData name="Roberto Gallardo" userId="49a044883f185952" providerId="LiveId" clId="{E32CE97C-9B2E-4D90-A77D-B240F65EAD0D}" dt="2023-01-16T22:56:49.582" v="478" actId="27918"/>
        <pc:sldMkLst>
          <pc:docMk/>
          <pc:sldMk cId="1951376777" sldId="299"/>
        </pc:sldMkLst>
        <pc:picChg chg="add mod">
          <ac:chgData name="Roberto Gallardo" userId="49a044883f185952" providerId="LiveId" clId="{E32CE97C-9B2E-4D90-A77D-B240F65EAD0D}" dt="2023-01-16T22:50:07.039" v="386" actId="1076"/>
          <ac:picMkLst>
            <pc:docMk/>
            <pc:sldMk cId="1951376777" sldId="299"/>
            <ac:picMk id="5" creationId="{5BE97C1C-30AF-C543-BFB0-E678155693A7}"/>
          </ac:picMkLst>
        </pc:picChg>
        <pc:picChg chg="del">
          <ac:chgData name="Roberto Gallardo" userId="49a044883f185952" providerId="LiveId" clId="{E32CE97C-9B2E-4D90-A77D-B240F65EAD0D}" dt="2023-01-16T18:03:46.802" v="83" actId="478"/>
          <ac:picMkLst>
            <pc:docMk/>
            <pc:sldMk cId="1951376777" sldId="299"/>
            <ac:picMk id="5" creationId="{CB9F2603-C485-DCF5-9F11-C81F07C6BB92}"/>
          </ac:picMkLst>
        </pc:picChg>
      </pc:sldChg>
      <pc:sldChg chg="del">
        <pc:chgData name="Roberto Gallardo" userId="49a044883f185952" providerId="LiveId" clId="{E32CE97C-9B2E-4D90-A77D-B240F65EAD0D}" dt="2023-01-17T23:31:41.837" v="531" actId="47"/>
        <pc:sldMkLst>
          <pc:docMk/>
          <pc:sldMk cId="230398305" sldId="301"/>
        </pc:sldMkLst>
      </pc:sldChg>
      <pc:sldChg chg="add">
        <pc:chgData name="Roberto Gallardo" userId="49a044883f185952" providerId="LiveId" clId="{E32CE97C-9B2E-4D90-A77D-B240F65EAD0D}" dt="2023-01-17T23:31:40.103" v="530"/>
        <pc:sldMkLst>
          <pc:docMk/>
          <pc:sldMk cId="1515423683" sldId="302"/>
        </pc:sldMkLst>
      </pc:sldChg>
      <pc:sldChg chg="add del">
        <pc:chgData name="Roberto Gallardo" userId="49a044883f185952" providerId="LiveId" clId="{E32CE97C-9B2E-4D90-A77D-B240F65EAD0D}" dt="2023-01-17T23:35:29.723" v="534" actId="47"/>
        <pc:sldMkLst>
          <pc:docMk/>
          <pc:sldMk cId="1053083297" sldId="303"/>
        </pc:sldMkLst>
      </pc:sldChg>
      <pc:sldChg chg="add mod">
        <pc:chgData name="Roberto Gallardo" userId="49a044883f185952" providerId="LiveId" clId="{E32CE97C-9B2E-4D90-A77D-B240F65EAD0D}" dt="2023-01-17T23:37:59.484" v="542" actId="27918"/>
        <pc:sldMkLst>
          <pc:docMk/>
          <pc:sldMk cId="2841628872" sldId="303"/>
        </pc:sldMkLst>
      </pc:sldChg>
      <pc:sldChg chg="add del">
        <pc:chgData name="Roberto Gallardo" userId="49a044883f185952" providerId="LiveId" clId="{E32CE97C-9B2E-4D90-A77D-B240F65EAD0D}" dt="2023-01-17T23:35:29.723" v="534" actId="47"/>
        <pc:sldMkLst>
          <pc:docMk/>
          <pc:sldMk cId="2841628872" sldId="304"/>
        </pc:sldMkLst>
      </pc:sldChg>
      <pc:sldChg chg="add mod">
        <pc:chgData name="Roberto Gallardo" userId="49a044883f185952" providerId="LiveId" clId="{E32CE97C-9B2E-4D90-A77D-B240F65EAD0D}" dt="2023-01-17T23:38:27.229" v="549" actId="27918"/>
        <pc:sldMkLst>
          <pc:docMk/>
          <pc:sldMk cId="3084076302" sldId="304"/>
        </pc:sldMkLst>
      </pc:sldChg>
      <pc:sldChg chg="add mod">
        <pc:chgData name="Roberto Gallardo" userId="49a044883f185952" providerId="LiveId" clId="{E32CE97C-9B2E-4D90-A77D-B240F65EAD0D}" dt="2023-01-17T23:39:06.887" v="556" actId="27918"/>
        <pc:sldMkLst>
          <pc:docMk/>
          <pc:sldMk cId="473712435" sldId="305"/>
        </pc:sldMkLst>
      </pc:sldChg>
    </pc:docChg>
  </pc:docChgLst>
  <pc:docChgLst>
    <pc:chgData name="Roberto Gallardo" userId="49a044883f185952" providerId="LiveId" clId="{B58D14F3-8FFA-49A4-95B8-8353A105954B}"/>
    <pc:docChg chg="custSel modSld">
      <pc:chgData name="Roberto Gallardo" userId="49a044883f185952" providerId="LiveId" clId="{B58D14F3-8FFA-49A4-95B8-8353A105954B}" dt="2023-01-15T19:48:28.958" v="472" actId="27918"/>
      <pc:docMkLst>
        <pc:docMk/>
      </pc:docMkLst>
      <pc:sldChg chg="modSp mod">
        <pc:chgData name="Roberto Gallardo" userId="49a044883f185952" providerId="LiveId" clId="{B58D14F3-8FFA-49A4-95B8-8353A105954B}" dt="2023-01-15T18:28:50.842" v="29" actId="6549"/>
        <pc:sldMkLst>
          <pc:docMk/>
          <pc:sldMk cId="2846901679" sldId="256"/>
        </pc:sldMkLst>
        <pc:spChg chg="mod">
          <ac:chgData name="Roberto Gallardo" userId="49a044883f185952" providerId="LiveId" clId="{B58D14F3-8FFA-49A4-95B8-8353A105954B}" dt="2023-01-15T18:28:50.842" v="29" actId="6549"/>
          <ac:spMkLst>
            <pc:docMk/>
            <pc:sldMk cId="2846901679" sldId="256"/>
            <ac:spMk id="7" creationId="{B1E0ABEC-554C-720A-2772-F0324C8E93CA}"/>
          </ac:spMkLst>
        </pc:spChg>
      </pc:sldChg>
      <pc:sldChg chg="mod">
        <pc:chgData name="Roberto Gallardo" userId="49a044883f185952" providerId="LiveId" clId="{B58D14F3-8FFA-49A4-95B8-8353A105954B}" dt="2023-01-15T18:56:15.560" v="53" actId="27918"/>
        <pc:sldMkLst>
          <pc:docMk/>
          <pc:sldMk cId="3231157596" sldId="257"/>
        </pc:sldMkLst>
      </pc:sldChg>
      <pc:sldChg chg="mod">
        <pc:chgData name="Roberto Gallardo" userId="49a044883f185952" providerId="LiveId" clId="{B58D14F3-8FFA-49A4-95B8-8353A105954B}" dt="2023-01-15T18:54:43.155" v="41" actId="27918"/>
        <pc:sldMkLst>
          <pc:docMk/>
          <pc:sldMk cId="3702837515" sldId="258"/>
        </pc:sldMkLst>
      </pc:sldChg>
      <pc:sldChg chg="mod">
        <pc:chgData name="Roberto Gallardo" userId="49a044883f185952" providerId="LiveId" clId="{B58D14F3-8FFA-49A4-95B8-8353A105954B}" dt="2023-01-15T18:55:31.773" v="47" actId="27918"/>
        <pc:sldMkLst>
          <pc:docMk/>
          <pc:sldMk cId="2519083202" sldId="259"/>
        </pc:sldMkLst>
      </pc:sldChg>
      <pc:sldChg chg="mod">
        <pc:chgData name="Roberto Gallardo" userId="49a044883f185952" providerId="LiveId" clId="{B58D14F3-8FFA-49A4-95B8-8353A105954B}" dt="2023-01-15T18:53:12.060" v="35" actId="27918"/>
        <pc:sldMkLst>
          <pc:docMk/>
          <pc:sldMk cId="3877078759" sldId="260"/>
        </pc:sldMkLst>
      </pc:sldChg>
      <pc:sldChg chg="mod">
        <pc:chgData name="Roberto Gallardo" userId="49a044883f185952" providerId="LiveId" clId="{B58D14F3-8FFA-49A4-95B8-8353A105954B}" dt="2023-01-15T18:58:01.015" v="65" actId="27918"/>
        <pc:sldMkLst>
          <pc:docMk/>
          <pc:sldMk cId="1175010214" sldId="261"/>
        </pc:sldMkLst>
      </pc:sldChg>
      <pc:sldChg chg="addSp delSp modSp mod">
        <pc:chgData name="Roberto Gallardo" userId="49a044883f185952" providerId="LiveId" clId="{B58D14F3-8FFA-49A4-95B8-8353A105954B}" dt="2023-01-15T19:02:33.214" v="92" actId="1076"/>
        <pc:sldMkLst>
          <pc:docMk/>
          <pc:sldMk cId="1418533539" sldId="271"/>
        </pc:sldMkLst>
        <pc:picChg chg="add del mod">
          <ac:chgData name="Roberto Gallardo" userId="49a044883f185952" providerId="LiveId" clId="{B58D14F3-8FFA-49A4-95B8-8353A105954B}" dt="2023-01-15T19:02:05.314" v="84" actId="478"/>
          <ac:picMkLst>
            <pc:docMk/>
            <pc:sldMk cId="1418533539" sldId="271"/>
            <ac:picMk id="6" creationId="{1FAA1AB7-59D9-85D9-F7A0-6A252D88C855}"/>
          </ac:picMkLst>
        </pc:picChg>
        <pc:picChg chg="del">
          <ac:chgData name="Roberto Gallardo" userId="49a044883f185952" providerId="LiveId" clId="{B58D14F3-8FFA-49A4-95B8-8353A105954B}" dt="2023-01-15T18:58:13.493" v="66" actId="478"/>
          <ac:picMkLst>
            <pc:docMk/>
            <pc:sldMk cId="1418533539" sldId="271"/>
            <ac:picMk id="7" creationId="{2F15C3FC-B04E-31FA-10E5-0CC0CA675769}"/>
          </ac:picMkLst>
        </pc:picChg>
        <pc:picChg chg="add mod">
          <ac:chgData name="Roberto Gallardo" userId="49a044883f185952" providerId="LiveId" clId="{B58D14F3-8FFA-49A4-95B8-8353A105954B}" dt="2023-01-15T19:02:33.214" v="92" actId="1076"/>
          <ac:picMkLst>
            <pc:docMk/>
            <pc:sldMk cId="1418533539" sldId="271"/>
            <ac:picMk id="9" creationId="{5E7800F7-9CC1-0036-BBE3-DF2C21CF61EC}"/>
          </ac:picMkLst>
        </pc:picChg>
      </pc:sldChg>
      <pc:sldChg chg="mod">
        <pc:chgData name="Roberto Gallardo" userId="49a044883f185952" providerId="LiveId" clId="{B58D14F3-8FFA-49A4-95B8-8353A105954B}" dt="2023-01-15T18:56:59.333" v="59" actId="27918"/>
        <pc:sldMkLst>
          <pc:docMk/>
          <pc:sldMk cId="2653937722" sldId="272"/>
        </pc:sldMkLst>
      </pc:sldChg>
      <pc:sldChg chg="mod">
        <pc:chgData name="Roberto Gallardo" userId="49a044883f185952" providerId="LiveId" clId="{B58D14F3-8FFA-49A4-95B8-8353A105954B}" dt="2023-01-15T19:45:33.208" v="428" actId="27918"/>
        <pc:sldMkLst>
          <pc:docMk/>
          <pc:sldMk cId="2076698419" sldId="273"/>
        </pc:sldMkLst>
      </pc:sldChg>
      <pc:sldChg chg="mod">
        <pc:chgData name="Roberto Gallardo" userId="49a044883f185952" providerId="LiveId" clId="{B58D14F3-8FFA-49A4-95B8-8353A105954B}" dt="2023-01-15T19:47:54.716" v="466" actId="27918"/>
        <pc:sldMkLst>
          <pc:docMk/>
          <pc:sldMk cId="3802335161" sldId="274"/>
        </pc:sldMkLst>
      </pc:sldChg>
      <pc:sldChg chg="mod">
        <pc:chgData name="Roberto Gallardo" userId="49a044883f185952" providerId="LiveId" clId="{B58D14F3-8FFA-49A4-95B8-8353A105954B}" dt="2023-01-15T19:48:28.958" v="472" actId="27918"/>
        <pc:sldMkLst>
          <pc:docMk/>
          <pc:sldMk cId="4292554322" sldId="275"/>
        </pc:sldMkLst>
      </pc:sldChg>
      <pc:sldChg chg="modSp mod">
        <pc:chgData name="Roberto Gallardo" userId="49a044883f185952" providerId="LiveId" clId="{B58D14F3-8FFA-49A4-95B8-8353A105954B}" dt="2023-01-15T19:47:04.949" v="462" actId="1036"/>
        <pc:sldMkLst>
          <pc:docMk/>
          <pc:sldMk cId="513409896" sldId="276"/>
        </pc:sldMkLst>
        <pc:spChg chg="mod">
          <ac:chgData name="Roberto Gallardo" userId="49a044883f185952" providerId="LiveId" clId="{B58D14F3-8FFA-49A4-95B8-8353A105954B}" dt="2023-01-15T19:46:44.053" v="448" actId="1036"/>
          <ac:spMkLst>
            <pc:docMk/>
            <pc:sldMk cId="513409896" sldId="276"/>
            <ac:spMk id="21" creationId="{9A68ADBE-AECC-EE60-7E94-3675B33E08AE}"/>
          </ac:spMkLst>
        </pc:spChg>
        <pc:cxnChg chg="mod">
          <ac:chgData name="Roberto Gallardo" userId="49a044883f185952" providerId="LiveId" clId="{B58D14F3-8FFA-49A4-95B8-8353A105954B}" dt="2023-01-15T19:46:38.902" v="442" actId="1036"/>
          <ac:cxnSpMkLst>
            <pc:docMk/>
            <pc:sldMk cId="513409896" sldId="276"/>
            <ac:cxnSpMk id="22" creationId="{1B423FA0-E4B3-6570-929B-A9283D503787}"/>
          </ac:cxnSpMkLst>
        </pc:cxnChg>
        <pc:cxnChg chg="mod">
          <ac:chgData name="Roberto Gallardo" userId="49a044883f185952" providerId="LiveId" clId="{B58D14F3-8FFA-49A4-95B8-8353A105954B}" dt="2023-01-15T19:47:04.949" v="462" actId="1036"/>
          <ac:cxnSpMkLst>
            <pc:docMk/>
            <pc:sldMk cId="513409896" sldId="276"/>
            <ac:cxnSpMk id="23" creationId="{D616797E-0044-3804-BA5A-23B8EB309CA5}"/>
          </ac:cxnSpMkLst>
        </pc:cxnChg>
        <pc:cxnChg chg="mod">
          <ac:chgData name="Roberto Gallardo" userId="49a044883f185952" providerId="LiveId" clId="{B58D14F3-8FFA-49A4-95B8-8353A105954B}" dt="2023-01-15T19:47:04.949" v="462" actId="1036"/>
          <ac:cxnSpMkLst>
            <pc:docMk/>
            <pc:sldMk cId="513409896" sldId="276"/>
            <ac:cxnSpMk id="24" creationId="{20A6256E-6780-BAE0-B803-D02FE024579F}"/>
          </ac:cxnSpMkLst>
        </pc:cxnChg>
        <pc:cxnChg chg="mod">
          <ac:chgData name="Roberto Gallardo" userId="49a044883f185952" providerId="LiveId" clId="{B58D14F3-8FFA-49A4-95B8-8353A105954B}" dt="2023-01-15T19:46:38.902" v="442" actId="1036"/>
          <ac:cxnSpMkLst>
            <pc:docMk/>
            <pc:sldMk cId="513409896" sldId="276"/>
            <ac:cxnSpMk id="25" creationId="{62B7492E-2C75-E0CD-947E-C582F412F7D7}"/>
          </ac:cxnSpMkLst>
        </pc:cxnChg>
      </pc:sldChg>
      <pc:sldChg chg="mod">
        <pc:chgData name="Roberto Gallardo" userId="49a044883f185952" providerId="LiveId" clId="{B58D14F3-8FFA-49A4-95B8-8353A105954B}" dt="2023-01-15T19:44:53.268" v="423" actId="27918"/>
        <pc:sldMkLst>
          <pc:docMk/>
          <pc:sldMk cId="349244952" sldId="278"/>
        </pc:sldMkLst>
      </pc:sldChg>
      <pc:sldChg chg="addSp delSp modSp mod">
        <pc:chgData name="Roberto Gallardo" userId="49a044883f185952" providerId="LiveId" clId="{B58D14F3-8FFA-49A4-95B8-8353A105954B}" dt="2023-01-15T19:26:24.283" v="211" actId="1076"/>
        <pc:sldMkLst>
          <pc:docMk/>
          <pc:sldMk cId="2124848710" sldId="281"/>
        </pc:sldMkLst>
        <pc:picChg chg="del">
          <ac:chgData name="Roberto Gallardo" userId="49a044883f185952" providerId="LiveId" clId="{B58D14F3-8FFA-49A4-95B8-8353A105954B}" dt="2023-01-15T19:02:52.178" v="98" actId="478"/>
          <ac:picMkLst>
            <pc:docMk/>
            <pc:sldMk cId="2124848710" sldId="281"/>
            <ac:picMk id="5" creationId="{556F29F2-6997-7A0D-E7B2-05855ADA3C54}"/>
          </ac:picMkLst>
        </pc:picChg>
        <pc:picChg chg="add mod">
          <ac:chgData name="Roberto Gallardo" userId="49a044883f185952" providerId="LiveId" clId="{B58D14F3-8FFA-49A4-95B8-8353A105954B}" dt="2023-01-15T19:26:24.283" v="211" actId="1076"/>
          <ac:picMkLst>
            <pc:docMk/>
            <pc:sldMk cId="2124848710" sldId="281"/>
            <ac:picMk id="8" creationId="{59CC8532-F288-791A-EFE6-B1A2416FC756}"/>
          </ac:picMkLst>
        </pc:picChg>
      </pc:sldChg>
      <pc:sldChg chg="addSp delSp modSp mod">
        <pc:chgData name="Roberto Gallardo" userId="49a044883f185952" providerId="LiveId" clId="{B58D14F3-8FFA-49A4-95B8-8353A105954B}" dt="2023-01-15T19:28:38.988" v="229" actId="1076"/>
        <pc:sldMkLst>
          <pc:docMk/>
          <pc:sldMk cId="2028175529" sldId="282"/>
        </pc:sldMkLst>
        <pc:picChg chg="add mod">
          <ac:chgData name="Roberto Gallardo" userId="49a044883f185952" providerId="LiveId" clId="{B58D14F3-8FFA-49A4-95B8-8353A105954B}" dt="2023-01-15T19:28:38.988" v="229" actId="1076"/>
          <ac:picMkLst>
            <pc:docMk/>
            <pc:sldMk cId="2028175529" sldId="282"/>
            <ac:picMk id="5" creationId="{C32BC25F-56EF-64BD-519C-17FB66BF21A9}"/>
          </ac:picMkLst>
        </pc:picChg>
        <pc:picChg chg="del">
          <ac:chgData name="Roberto Gallardo" userId="49a044883f185952" providerId="LiveId" clId="{B58D14F3-8FFA-49A4-95B8-8353A105954B}" dt="2023-01-15T19:02:54.259" v="99" actId="478"/>
          <ac:picMkLst>
            <pc:docMk/>
            <pc:sldMk cId="2028175529" sldId="282"/>
            <ac:picMk id="8" creationId="{41D36A96-EA9A-CCB2-E305-0B946C042E36}"/>
          </ac:picMkLst>
        </pc:picChg>
      </pc:sldChg>
      <pc:sldChg chg="addSp delSp modSp mod">
        <pc:chgData name="Roberto Gallardo" userId="49a044883f185952" providerId="LiveId" clId="{B58D14F3-8FFA-49A4-95B8-8353A105954B}" dt="2023-01-15T19:29:58.008" v="246" actId="1076"/>
        <pc:sldMkLst>
          <pc:docMk/>
          <pc:sldMk cId="1326517747" sldId="283"/>
        </pc:sldMkLst>
        <pc:picChg chg="add mod">
          <ac:chgData name="Roberto Gallardo" userId="49a044883f185952" providerId="LiveId" clId="{B58D14F3-8FFA-49A4-95B8-8353A105954B}" dt="2023-01-15T19:29:58.008" v="246" actId="1076"/>
          <ac:picMkLst>
            <pc:docMk/>
            <pc:sldMk cId="1326517747" sldId="283"/>
            <ac:picMk id="5" creationId="{F66195C6-879A-5A62-C42A-A2106922316E}"/>
          </ac:picMkLst>
        </pc:picChg>
        <pc:picChg chg="del">
          <ac:chgData name="Roberto Gallardo" userId="49a044883f185952" providerId="LiveId" clId="{B58D14F3-8FFA-49A4-95B8-8353A105954B}" dt="2023-01-15T19:02:55.860" v="100" actId="478"/>
          <ac:picMkLst>
            <pc:docMk/>
            <pc:sldMk cId="1326517747" sldId="283"/>
            <ac:picMk id="8" creationId="{8EC4580D-8F08-40A8-A137-3545A4069AA9}"/>
          </ac:picMkLst>
        </pc:picChg>
      </pc:sldChg>
      <pc:sldChg chg="addSp delSp modSp mod">
        <pc:chgData name="Roberto Gallardo" userId="49a044883f185952" providerId="LiveId" clId="{B58D14F3-8FFA-49A4-95B8-8353A105954B}" dt="2023-01-15T19:31:25.626" v="263" actId="1076"/>
        <pc:sldMkLst>
          <pc:docMk/>
          <pc:sldMk cId="783739251" sldId="284"/>
        </pc:sldMkLst>
        <pc:picChg chg="add mod">
          <ac:chgData name="Roberto Gallardo" userId="49a044883f185952" providerId="LiveId" clId="{B58D14F3-8FFA-49A4-95B8-8353A105954B}" dt="2023-01-15T19:31:25.626" v="263" actId="1076"/>
          <ac:picMkLst>
            <pc:docMk/>
            <pc:sldMk cId="783739251" sldId="284"/>
            <ac:picMk id="5" creationId="{D266E385-4DFE-4CA1-3BA2-8FC8AB6D06B8}"/>
          </ac:picMkLst>
        </pc:picChg>
        <pc:picChg chg="del">
          <ac:chgData name="Roberto Gallardo" userId="49a044883f185952" providerId="LiveId" clId="{B58D14F3-8FFA-49A4-95B8-8353A105954B}" dt="2023-01-15T19:02:57.544" v="101" actId="478"/>
          <ac:picMkLst>
            <pc:docMk/>
            <pc:sldMk cId="783739251" sldId="284"/>
            <ac:picMk id="8" creationId="{AFF3357F-A78F-9022-EB5F-1692DE80E88B}"/>
          </ac:picMkLst>
        </pc:picChg>
      </pc:sldChg>
      <pc:sldChg chg="addSp delSp modSp mod">
        <pc:chgData name="Roberto Gallardo" userId="49a044883f185952" providerId="LiveId" clId="{B58D14F3-8FFA-49A4-95B8-8353A105954B}" dt="2023-01-15T19:32:55.389" v="281" actId="1076"/>
        <pc:sldMkLst>
          <pc:docMk/>
          <pc:sldMk cId="1676122233" sldId="285"/>
        </pc:sldMkLst>
        <pc:picChg chg="add mod">
          <ac:chgData name="Roberto Gallardo" userId="49a044883f185952" providerId="LiveId" clId="{B58D14F3-8FFA-49A4-95B8-8353A105954B}" dt="2023-01-15T19:32:55.389" v="281" actId="1076"/>
          <ac:picMkLst>
            <pc:docMk/>
            <pc:sldMk cId="1676122233" sldId="285"/>
            <ac:picMk id="5" creationId="{617C5CCF-BB89-47AC-8CDC-827301D32F80}"/>
          </ac:picMkLst>
        </pc:picChg>
        <pc:picChg chg="del">
          <ac:chgData name="Roberto Gallardo" userId="49a044883f185952" providerId="LiveId" clId="{B58D14F3-8FFA-49A4-95B8-8353A105954B}" dt="2023-01-15T19:03:00.242" v="102" actId="478"/>
          <ac:picMkLst>
            <pc:docMk/>
            <pc:sldMk cId="1676122233" sldId="285"/>
            <ac:picMk id="8" creationId="{BB4A4BAA-6F00-6508-3C3D-2A227BD886F7}"/>
          </ac:picMkLst>
        </pc:picChg>
      </pc:sldChg>
      <pc:sldChg chg="addSp delSp modSp mod">
        <pc:chgData name="Roberto Gallardo" userId="49a044883f185952" providerId="LiveId" clId="{B58D14F3-8FFA-49A4-95B8-8353A105954B}" dt="2023-01-15T19:34:12.404" v="298" actId="1076"/>
        <pc:sldMkLst>
          <pc:docMk/>
          <pc:sldMk cId="3100398757" sldId="286"/>
        </pc:sldMkLst>
        <pc:picChg chg="add mod">
          <ac:chgData name="Roberto Gallardo" userId="49a044883f185952" providerId="LiveId" clId="{B58D14F3-8FFA-49A4-95B8-8353A105954B}" dt="2023-01-15T19:34:12.404" v="298" actId="1076"/>
          <ac:picMkLst>
            <pc:docMk/>
            <pc:sldMk cId="3100398757" sldId="286"/>
            <ac:picMk id="5" creationId="{828FE092-91FC-0861-5279-E886D1A66A69}"/>
          </ac:picMkLst>
        </pc:picChg>
        <pc:picChg chg="del">
          <ac:chgData name="Roberto Gallardo" userId="49a044883f185952" providerId="LiveId" clId="{B58D14F3-8FFA-49A4-95B8-8353A105954B}" dt="2023-01-15T19:03:03.058" v="103" actId="478"/>
          <ac:picMkLst>
            <pc:docMk/>
            <pc:sldMk cId="3100398757" sldId="286"/>
            <ac:picMk id="8" creationId="{FF8FB53C-6731-EAFB-623C-544513545D01}"/>
          </ac:picMkLst>
        </pc:picChg>
      </pc:sldChg>
      <pc:sldChg chg="addSp delSp modSp mod">
        <pc:chgData name="Roberto Gallardo" userId="49a044883f185952" providerId="LiveId" clId="{B58D14F3-8FFA-49A4-95B8-8353A105954B}" dt="2023-01-15T19:35:37.100" v="316" actId="1076"/>
        <pc:sldMkLst>
          <pc:docMk/>
          <pc:sldMk cId="1546475425" sldId="287"/>
        </pc:sldMkLst>
        <pc:picChg chg="add mod">
          <ac:chgData name="Roberto Gallardo" userId="49a044883f185952" providerId="LiveId" clId="{B58D14F3-8FFA-49A4-95B8-8353A105954B}" dt="2023-01-15T19:35:37.100" v="316" actId="1076"/>
          <ac:picMkLst>
            <pc:docMk/>
            <pc:sldMk cId="1546475425" sldId="287"/>
            <ac:picMk id="5" creationId="{B467A300-443B-2A89-6450-C65A5FD24F27}"/>
          </ac:picMkLst>
        </pc:picChg>
        <pc:picChg chg="del">
          <ac:chgData name="Roberto Gallardo" userId="49a044883f185952" providerId="LiveId" clId="{B58D14F3-8FFA-49A4-95B8-8353A105954B}" dt="2023-01-15T19:03:04.642" v="104" actId="478"/>
          <ac:picMkLst>
            <pc:docMk/>
            <pc:sldMk cId="1546475425" sldId="287"/>
            <ac:picMk id="8" creationId="{E8D36DA1-46A0-22DA-0864-CA5E6CEFD003}"/>
          </ac:picMkLst>
        </pc:picChg>
      </pc:sldChg>
      <pc:sldChg chg="addSp delSp modSp mod">
        <pc:chgData name="Roberto Gallardo" userId="49a044883f185952" providerId="LiveId" clId="{B58D14F3-8FFA-49A4-95B8-8353A105954B}" dt="2023-01-15T19:38:35.070" v="350" actId="1076"/>
        <pc:sldMkLst>
          <pc:docMk/>
          <pc:sldMk cId="1380517306" sldId="288"/>
        </pc:sldMkLst>
        <pc:picChg chg="add mod">
          <ac:chgData name="Roberto Gallardo" userId="49a044883f185952" providerId="LiveId" clId="{B58D14F3-8FFA-49A4-95B8-8353A105954B}" dt="2023-01-15T19:38:35.070" v="350" actId="1076"/>
          <ac:picMkLst>
            <pc:docMk/>
            <pc:sldMk cId="1380517306" sldId="288"/>
            <ac:picMk id="5" creationId="{EC37CC93-4D82-B5A6-40D1-21ADAC23DE0F}"/>
          </ac:picMkLst>
        </pc:picChg>
        <pc:picChg chg="del">
          <ac:chgData name="Roberto Gallardo" userId="49a044883f185952" providerId="LiveId" clId="{B58D14F3-8FFA-49A4-95B8-8353A105954B}" dt="2023-01-15T19:03:08.288" v="106" actId="478"/>
          <ac:picMkLst>
            <pc:docMk/>
            <pc:sldMk cId="1380517306" sldId="288"/>
            <ac:picMk id="8" creationId="{559BF8BB-95F2-9A33-FBEF-6778F2E96135}"/>
          </ac:picMkLst>
        </pc:picChg>
      </pc:sldChg>
      <pc:sldChg chg="addSp delSp modSp mod">
        <pc:chgData name="Roberto Gallardo" userId="49a044883f185952" providerId="LiveId" clId="{B58D14F3-8FFA-49A4-95B8-8353A105954B}" dt="2023-01-15T19:40:04.392" v="367" actId="1076"/>
        <pc:sldMkLst>
          <pc:docMk/>
          <pc:sldMk cId="1388671151" sldId="289"/>
        </pc:sldMkLst>
        <pc:picChg chg="add mod">
          <ac:chgData name="Roberto Gallardo" userId="49a044883f185952" providerId="LiveId" clId="{B58D14F3-8FFA-49A4-95B8-8353A105954B}" dt="2023-01-15T19:40:04.392" v="367" actId="1076"/>
          <ac:picMkLst>
            <pc:docMk/>
            <pc:sldMk cId="1388671151" sldId="289"/>
            <ac:picMk id="5" creationId="{277FFAB3-CF3A-2E34-ED77-74E8C912755E}"/>
          </ac:picMkLst>
        </pc:picChg>
        <pc:picChg chg="del">
          <ac:chgData name="Roberto Gallardo" userId="49a044883f185952" providerId="LiveId" clId="{B58D14F3-8FFA-49A4-95B8-8353A105954B}" dt="2023-01-15T19:03:10.274" v="107" actId="478"/>
          <ac:picMkLst>
            <pc:docMk/>
            <pc:sldMk cId="1388671151" sldId="289"/>
            <ac:picMk id="8" creationId="{AD99A92E-6799-7050-B127-B74EC0B4E77B}"/>
          </ac:picMkLst>
        </pc:picChg>
      </pc:sldChg>
      <pc:sldChg chg="addSp delSp modSp mod">
        <pc:chgData name="Roberto Gallardo" userId="49a044883f185952" providerId="LiveId" clId="{B58D14F3-8FFA-49A4-95B8-8353A105954B}" dt="2023-01-15T19:42:58.522" v="403" actId="1076"/>
        <pc:sldMkLst>
          <pc:docMk/>
          <pc:sldMk cId="2355376039" sldId="290"/>
        </pc:sldMkLst>
        <pc:picChg chg="del">
          <ac:chgData name="Roberto Gallardo" userId="49a044883f185952" providerId="LiveId" clId="{B58D14F3-8FFA-49A4-95B8-8353A105954B}" dt="2023-01-15T19:03:14.159" v="109" actId="478"/>
          <ac:picMkLst>
            <pc:docMk/>
            <pc:sldMk cId="2355376039" sldId="290"/>
            <ac:picMk id="8" creationId="{5F4A4034-085C-189C-4191-CA7E16CDF515}"/>
          </ac:picMkLst>
        </pc:picChg>
        <pc:picChg chg="add mod">
          <ac:chgData name="Roberto Gallardo" userId="49a044883f185952" providerId="LiveId" clId="{B58D14F3-8FFA-49A4-95B8-8353A105954B}" dt="2023-01-15T19:42:58.522" v="403" actId="1076"/>
          <ac:picMkLst>
            <pc:docMk/>
            <pc:sldMk cId="2355376039" sldId="290"/>
            <ac:picMk id="9" creationId="{5D042F5E-769F-0295-794B-C2C5B4C383CA}"/>
          </ac:picMkLst>
        </pc:picChg>
      </pc:sldChg>
      <pc:sldChg chg="addSp delSp modSp mod">
        <pc:chgData name="Roberto Gallardo" userId="49a044883f185952" providerId="LiveId" clId="{B58D14F3-8FFA-49A4-95B8-8353A105954B}" dt="2023-01-15T19:44:27.876" v="419" actId="1076"/>
        <pc:sldMkLst>
          <pc:docMk/>
          <pc:sldMk cId="3757257295" sldId="291"/>
        </pc:sldMkLst>
        <pc:picChg chg="add mod">
          <ac:chgData name="Roberto Gallardo" userId="49a044883f185952" providerId="LiveId" clId="{B58D14F3-8FFA-49A4-95B8-8353A105954B}" dt="2023-01-15T19:44:27.876" v="419" actId="1076"/>
          <ac:picMkLst>
            <pc:docMk/>
            <pc:sldMk cId="3757257295" sldId="291"/>
            <ac:picMk id="7" creationId="{D0056C1A-1D3E-01C7-5208-26577D1147CF}"/>
          </ac:picMkLst>
        </pc:picChg>
        <pc:picChg chg="del">
          <ac:chgData name="Roberto Gallardo" userId="49a044883f185952" providerId="LiveId" clId="{B58D14F3-8FFA-49A4-95B8-8353A105954B}" dt="2023-01-15T19:03:15.714" v="110" actId="478"/>
          <ac:picMkLst>
            <pc:docMk/>
            <pc:sldMk cId="3757257295" sldId="291"/>
            <ac:picMk id="8" creationId="{07C42A41-36FA-8106-B54C-5AF528054D44}"/>
          </ac:picMkLst>
        </pc:picChg>
      </pc:sldChg>
      <pc:sldChg chg="addSp delSp modSp mod">
        <pc:chgData name="Roberto Gallardo" userId="49a044883f185952" providerId="LiveId" clId="{B58D14F3-8FFA-49A4-95B8-8353A105954B}" dt="2023-01-15T19:37:09.180" v="334" actId="1037"/>
        <pc:sldMkLst>
          <pc:docMk/>
          <pc:sldMk cId="1259856727" sldId="292"/>
        </pc:sldMkLst>
        <pc:picChg chg="add mod">
          <ac:chgData name="Roberto Gallardo" userId="49a044883f185952" providerId="LiveId" clId="{B58D14F3-8FFA-49A4-95B8-8353A105954B}" dt="2023-01-15T19:37:09.180" v="334" actId="1037"/>
          <ac:picMkLst>
            <pc:docMk/>
            <pc:sldMk cId="1259856727" sldId="292"/>
            <ac:picMk id="5" creationId="{80C86FF7-A14F-877B-297D-2CCC5D131F67}"/>
          </ac:picMkLst>
        </pc:picChg>
        <pc:picChg chg="del">
          <ac:chgData name="Roberto Gallardo" userId="49a044883f185952" providerId="LiveId" clId="{B58D14F3-8FFA-49A4-95B8-8353A105954B}" dt="2023-01-15T19:03:06.690" v="105" actId="478"/>
          <ac:picMkLst>
            <pc:docMk/>
            <pc:sldMk cId="1259856727" sldId="292"/>
            <ac:picMk id="8" creationId="{71DE8C41-2B1A-D2CC-5F7C-88BDADC1AA33}"/>
          </ac:picMkLst>
        </pc:picChg>
      </pc:sldChg>
      <pc:sldChg chg="addSp delSp modSp mod">
        <pc:chgData name="Roberto Gallardo" userId="49a044883f185952" providerId="LiveId" clId="{B58D14F3-8FFA-49A4-95B8-8353A105954B}" dt="2023-01-15T19:24:45.344" v="193" actId="1076"/>
        <pc:sldMkLst>
          <pc:docMk/>
          <pc:sldMk cId="3324519687" sldId="293"/>
        </pc:sldMkLst>
        <pc:picChg chg="add mod">
          <ac:chgData name="Roberto Gallardo" userId="49a044883f185952" providerId="LiveId" clId="{B58D14F3-8FFA-49A4-95B8-8353A105954B}" dt="2023-01-15T19:24:45.344" v="193" actId="1076"/>
          <ac:picMkLst>
            <pc:docMk/>
            <pc:sldMk cId="3324519687" sldId="293"/>
            <ac:picMk id="7" creationId="{D5FBAD5B-FABB-AF66-1C85-C036EEAF2535}"/>
          </ac:picMkLst>
        </pc:picChg>
        <pc:picChg chg="del">
          <ac:chgData name="Roberto Gallardo" userId="49a044883f185952" providerId="LiveId" clId="{B58D14F3-8FFA-49A4-95B8-8353A105954B}" dt="2023-01-15T19:02:50.538" v="97" actId="478"/>
          <ac:picMkLst>
            <pc:docMk/>
            <pc:sldMk cId="3324519687" sldId="293"/>
            <ac:picMk id="8" creationId="{957EE50D-AE79-EDE3-3BB4-E2DC7C8A4C39}"/>
          </ac:picMkLst>
        </pc:picChg>
      </pc:sldChg>
      <pc:sldChg chg="addSp delSp modSp mod">
        <pc:chgData name="Roberto Gallardo" userId="49a044883f185952" providerId="LiveId" clId="{B58D14F3-8FFA-49A4-95B8-8353A105954B}" dt="2023-01-15T19:19:02.123" v="159" actId="1076"/>
        <pc:sldMkLst>
          <pc:docMk/>
          <pc:sldMk cId="3256182630" sldId="295"/>
        </pc:sldMkLst>
        <pc:picChg chg="del">
          <ac:chgData name="Roberto Gallardo" userId="49a044883f185952" providerId="LiveId" clId="{B58D14F3-8FFA-49A4-95B8-8353A105954B}" dt="2023-01-15T19:02:46.314" v="95" actId="478"/>
          <ac:picMkLst>
            <pc:docMk/>
            <pc:sldMk cId="3256182630" sldId="295"/>
            <ac:picMk id="6" creationId="{2A659626-F4CD-AFCD-0028-27FFEAEA821A}"/>
          </ac:picMkLst>
        </pc:picChg>
        <pc:picChg chg="add del mod">
          <ac:chgData name="Roberto Gallardo" userId="49a044883f185952" providerId="LiveId" clId="{B58D14F3-8FFA-49A4-95B8-8353A105954B}" dt="2023-01-15T19:18:31.660" v="149" actId="478"/>
          <ac:picMkLst>
            <pc:docMk/>
            <pc:sldMk cId="3256182630" sldId="295"/>
            <ac:picMk id="7" creationId="{6CAEEEB8-0F6D-ACF7-2BCC-3020293224F5}"/>
          </ac:picMkLst>
        </pc:picChg>
        <pc:picChg chg="add mod">
          <ac:chgData name="Roberto Gallardo" userId="49a044883f185952" providerId="LiveId" clId="{B58D14F3-8FFA-49A4-95B8-8353A105954B}" dt="2023-01-15T19:19:02.123" v="159" actId="1076"/>
          <ac:picMkLst>
            <pc:docMk/>
            <pc:sldMk cId="3256182630" sldId="295"/>
            <ac:picMk id="10" creationId="{D1E71CBC-E82F-97AF-BC53-5CEA892CA5F4}"/>
          </ac:picMkLst>
        </pc:picChg>
      </pc:sldChg>
      <pc:sldChg chg="addSp delSp modSp mod">
        <pc:chgData name="Roberto Gallardo" userId="49a044883f185952" providerId="LiveId" clId="{B58D14F3-8FFA-49A4-95B8-8353A105954B}" dt="2023-01-15T19:22:56.037" v="176" actId="1076"/>
        <pc:sldMkLst>
          <pc:docMk/>
          <pc:sldMk cId="4057156843" sldId="296"/>
        </pc:sldMkLst>
        <pc:picChg chg="add mod">
          <ac:chgData name="Roberto Gallardo" userId="49a044883f185952" providerId="LiveId" clId="{B58D14F3-8FFA-49A4-95B8-8353A105954B}" dt="2023-01-15T19:22:56.037" v="176" actId="1076"/>
          <ac:picMkLst>
            <pc:docMk/>
            <pc:sldMk cId="4057156843" sldId="296"/>
            <ac:picMk id="6" creationId="{23497DC1-23CC-E188-1CAB-0C7646F217F1}"/>
          </ac:picMkLst>
        </pc:picChg>
        <pc:picChg chg="del">
          <ac:chgData name="Roberto Gallardo" userId="49a044883f185952" providerId="LiveId" clId="{B58D14F3-8FFA-49A4-95B8-8353A105954B}" dt="2023-01-15T19:02:48.892" v="96" actId="478"/>
          <ac:picMkLst>
            <pc:docMk/>
            <pc:sldMk cId="4057156843" sldId="296"/>
            <ac:picMk id="9" creationId="{83FEB5D9-D3E1-1718-9BA0-1E4E42CB2EAF}"/>
          </ac:picMkLst>
        </pc:picChg>
      </pc:sldChg>
      <pc:sldChg chg="addSp delSp modSp mod">
        <pc:chgData name="Roberto Gallardo" userId="49a044883f185952" providerId="LiveId" clId="{B58D14F3-8FFA-49A4-95B8-8353A105954B}" dt="2023-01-15T19:12:50.995" v="128" actId="1076"/>
        <pc:sldMkLst>
          <pc:docMk/>
          <pc:sldMk cId="2080110827" sldId="297"/>
        </pc:sldMkLst>
        <pc:picChg chg="add mod">
          <ac:chgData name="Roberto Gallardo" userId="49a044883f185952" providerId="LiveId" clId="{B58D14F3-8FFA-49A4-95B8-8353A105954B}" dt="2023-01-15T19:12:50.995" v="128" actId="1076"/>
          <ac:picMkLst>
            <pc:docMk/>
            <pc:sldMk cId="2080110827" sldId="297"/>
            <ac:picMk id="6" creationId="{C71CB705-CD41-D3E6-5F84-C7059E45847A}"/>
          </ac:picMkLst>
        </pc:picChg>
        <pc:picChg chg="del">
          <ac:chgData name="Roberto Gallardo" userId="49a044883f185952" providerId="LiveId" clId="{B58D14F3-8FFA-49A4-95B8-8353A105954B}" dt="2023-01-15T19:02:44.794" v="94" actId="478"/>
          <ac:picMkLst>
            <pc:docMk/>
            <pc:sldMk cId="2080110827" sldId="297"/>
            <ac:picMk id="7" creationId="{863FFA18-1A6E-FB1C-F203-A44B4B4AC4A9}"/>
          </ac:picMkLst>
        </pc:picChg>
      </pc:sldChg>
      <pc:sldChg chg="addSp delSp modSp mod">
        <pc:chgData name="Roberto Gallardo" userId="49a044883f185952" providerId="LiveId" clId="{B58D14F3-8FFA-49A4-95B8-8353A105954B}" dt="2023-01-15T19:12:22.241" v="119" actId="1076"/>
        <pc:sldMkLst>
          <pc:docMk/>
          <pc:sldMk cId="1532666867" sldId="298"/>
        </pc:sldMkLst>
        <pc:picChg chg="del">
          <ac:chgData name="Roberto Gallardo" userId="49a044883f185952" providerId="LiveId" clId="{B58D14F3-8FFA-49A4-95B8-8353A105954B}" dt="2023-01-15T18:59:01.209" v="76" actId="478"/>
          <ac:picMkLst>
            <pc:docMk/>
            <pc:sldMk cId="1532666867" sldId="298"/>
            <ac:picMk id="6" creationId="{EF0D8426-CFCD-854A-A97D-207F512F8982}"/>
          </ac:picMkLst>
        </pc:picChg>
        <pc:picChg chg="add del mod">
          <ac:chgData name="Roberto Gallardo" userId="49a044883f185952" providerId="LiveId" clId="{B58D14F3-8FFA-49A4-95B8-8353A105954B}" dt="2023-01-15T19:02:43.171" v="93" actId="478"/>
          <ac:picMkLst>
            <pc:docMk/>
            <pc:sldMk cId="1532666867" sldId="298"/>
            <ac:picMk id="7" creationId="{79D1867A-027B-2004-CF61-B463957F3FAA}"/>
          </ac:picMkLst>
        </pc:picChg>
        <pc:picChg chg="add mod">
          <ac:chgData name="Roberto Gallardo" userId="49a044883f185952" providerId="LiveId" clId="{B58D14F3-8FFA-49A4-95B8-8353A105954B}" dt="2023-01-15T19:12:22.241" v="119" actId="1076"/>
          <ac:picMkLst>
            <pc:docMk/>
            <pc:sldMk cId="1532666867" sldId="298"/>
            <ac:picMk id="9" creationId="{6E966F0B-953B-8A85-694F-93EFD60E3B57}"/>
          </ac:picMkLst>
        </pc:picChg>
      </pc:sldChg>
      <pc:sldChg chg="addSp delSp modSp mod">
        <pc:chgData name="Roberto Gallardo" userId="49a044883f185952" providerId="LiveId" clId="{B58D14F3-8FFA-49A4-95B8-8353A105954B}" dt="2023-01-15T19:41:33.388" v="386" actId="1076"/>
        <pc:sldMkLst>
          <pc:docMk/>
          <pc:sldMk cId="1951376777" sldId="299"/>
        </pc:sldMkLst>
        <pc:picChg chg="del">
          <ac:chgData name="Roberto Gallardo" userId="49a044883f185952" providerId="LiveId" clId="{B58D14F3-8FFA-49A4-95B8-8353A105954B}" dt="2023-01-15T19:03:11.874" v="108" actId="478"/>
          <ac:picMkLst>
            <pc:docMk/>
            <pc:sldMk cId="1951376777" sldId="299"/>
            <ac:picMk id="5" creationId="{3AF20E66-AA6C-0EBE-7285-94038E971285}"/>
          </ac:picMkLst>
        </pc:picChg>
        <pc:picChg chg="add mod">
          <ac:chgData name="Roberto Gallardo" userId="49a044883f185952" providerId="LiveId" clId="{B58D14F3-8FFA-49A4-95B8-8353A105954B}" dt="2023-01-15T19:41:33.388" v="386" actId="1076"/>
          <ac:picMkLst>
            <pc:docMk/>
            <pc:sldMk cId="1951376777" sldId="299"/>
            <ac:picMk id="8" creationId="{2244EBF2-674F-0118-C752-EBDDBDF4065E}"/>
          </ac:picMkLst>
        </pc:picChg>
      </pc:sldChg>
    </pc:docChg>
  </pc:docChgLst>
  <pc:docChgLst>
    <pc:chgData name="Roberto Gallardo" userId="49a044883f185952" providerId="LiveId" clId="{F4D957F6-5F28-4DDF-9F2A-0CB3D547903A}"/>
    <pc:docChg chg="undo custSel addSld delSld modSld sldOrd">
      <pc:chgData name="Roberto Gallardo" userId="49a044883f185952" providerId="LiveId" clId="{F4D957F6-5F28-4DDF-9F2A-0CB3D547903A}" dt="2022-07-10T15:59:21.537" v="8244"/>
      <pc:docMkLst>
        <pc:docMk/>
      </pc:docMkLst>
      <pc:sldChg chg="addSp delSp modSp mod">
        <pc:chgData name="Roberto Gallardo" userId="49a044883f185952" providerId="LiveId" clId="{F4D957F6-5F28-4DDF-9F2A-0CB3D547903A}" dt="2022-07-09T12:40:22.696" v="7914" actId="6549"/>
        <pc:sldMkLst>
          <pc:docMk/>
          <pc:sldMk cId="2846901679" sldId="256"/>
        </pc:sldMkLst>
        <pc:spChg chg="add del mod">
          <ac:chgData name="Roberto Gallardo" userId="49a044883f185952" providerId="LiveId" clId="{F4D957F6-5F28-4DDF-9F2A-0CB3D547903A}" dt="2022-07-04T13:34:55.564" v="2" actId="478"/>
          <ac:spMkLst>
            <pc:docMk/>
            <pc:sldMk cId="2846901679" sldId="256"/>
            <ac:spMk id="5" creationId="{80F44228-1734-5C65-7A8F-D647FE8F9F7A}"/>
          </ac:spMkLst>
        </pc:spChg>
        <pc:spChg chg="add mod topLvl">
          <ac:chgData name="Roberto Gallardo" userId="49a044883f185952" providerId="LiveId" clId="{F4D957F6-5F28-4DDF-9F2A-0CB3D547903A}" dt="2022-07-04T13:38:04.288" v="228" actId="14100"/>
          <ac:spMkLst>
            <pc:docMk/>
            <pc:sldMk cId="2846901679" sldId="256"/>
            <ac:spMk id="6" creationId="{EC0D6789-6A37-0043-937E-6C3320ED0C53}"/>
          </ac:spMkLst>
        </pc:spChg>
        <pc:spChg chg="add mod topLvl">
          <ac:chgData name="Roberto Gallardo" userId="49a044883f185952" providerId="LiveId" clId="{F4D957F6-5F28-4DDF-9F2A-0CB3D547903A}" dt="2022-07-09T12:40:22.696" v="7914" actId="6549"/>
          <ac:spMkLst>
            <pc:docMk/>
            <pc:sldMk cId="2846901679" sldId="256"/>
            <ac:spMk id="7" creationId="{B1E0ABEC-554C-720A-2772-F0324C8E93CA}"/>
          </ac:spMkLst>
        </pc:spChg>
        <pc:grpChg chg="add del mod">
          <ac:chgData name="Roberto Gallardo" userId="49a044883f185952" providerId="LiveId" clId="{F4D957F6-5F28-4DDF-9F2A-0CB3D547903A}" dt="2022-07-04T13:38:00.995" v="227" actId="165"/>
          <ac:grpSpMkLst>
            <pc:docMk/>
            <pc:sldMk cId="2846901679" sldId="256"/>
            <ac:grpSpMk id="8" creationId="{A1F124F7-6BF9-29EA-3DFB-98E68EA6CDE3}"/>
          </ac:grpSpMkLst>
        </pc:grpChg>
        <pc:cxnChg chg="add mod">
          <ac:chgData name="Roberto Gallardo" userId="49a044883f185952" providerId="LiveId" clId="{F4D957F6-5F28-4DDF-9F2A-0CB3D547903A}" dt="2022-07-04T17:56:17.698" v="757" actId="1035"/>
          <ac:cxnSpMkLst>
            <pc:docMk/>
            <pc:sldMk cId="2846901679" sldId="256"/>
            <ac:cxnSpMk id="10" creationId="{13EFA7DF-2E74-6B37-435B-B8B810175C14}"/>
          </ac:cxnSpMkLst>
        </pc:cxnChg>
      </pc:sldChg>
      <pc:sldChg chg="addSp delSp modSp mod ord">
        <pc:chgData name="Roberto Gallardo" userId="49a044883f185952" providerId="LiveId" clId="{F4D957F6-5F28-4DDF-9F2A-0CB3D547903A}" dt="2022-07-09T11:55:07.064" v="2612"/>
        <pc:sldMkLst>
          <pc:docMk/>
          <pc:sldMk cId="3231157596" sldId="257"/>
        </pc:sldMkLst>
        <pc:spChg chg="mod">
          <ac:chgData name="Roberto Gallardo" userId="49a044883f185952" providerId="LiveId" clId="{F4D957F6-5F28-4DDF-9F2A-0CB3D547903A}" dt="2022-07-09T11:54:42.016" v="2593" actId="20577"/>
          <ac:spMkLst>
            <pc:docMk/>
            <pc:sldMk cId="3231157596" sldId="257"/>
            <ac:spMk id="2" creationId="{C03B1400-5F72-D252-1DBE-EDCD6E63B07C}"/>
          </ac:spMkLst>
        </pc:spChg>
        <pc:spChg chg="del">
          <ac:chgData name="Roberto Gallardo" userId="49a044883f185952" providerId="LiveId" clId="{F4D957F6-5F28-4DDF-9F2A-0CB3D547903A}" dt="2022-07-04T13:39:45.487" v="345" actId="1957"/>
          <ac:spMkLst>
            <pc:docMk/>
            <pc:sldMk cId="3231157596" sldId="257"/>
            <ac:spMk id="3" creationId="{BB89FF67-5405-7219-AC78-B72632AA2706}"/>
          </ac:spMkLst>
        </pc:spChg>
        <pc:spChg chg="add mod">
          <ac:chgData name="Roberto Gallardo" userId="49a044883f185952" providerId="LiveId" clId="{F4D957F6-5F28-4DDF-9F2A-0CB3D547903A}" dt="2022-07-04T13:41:42.746" v="397" actId="1076"/>
          <ac:spMkLst>
            <pc:docMk/>
            <pc:sldMk cId="3231157596" sldId="257"/>
            <ac:spMk id="8" creationId="{40AF43CC-DD34-B66D-2100-C70E6AB3ED53}"/>
          </ac:spMkLst>
        </pc:spChg>
        <pc:graphicFrameChg chg="add mod">
          <ac:chgData name="Roberto Gallardo" userId="49a044883f185952" providerId="LiveId" clId="{F4D957F6-5F28-4DDF-9F2A-0CB3D547903A}" dt="2022-07-05T23:58:48.836" v="1184" actId="14100"/>
          <ac:graphicFrameMkLst>
            <pc:docMk/>
            <pc:sldMk cId="3231157596" sldId="257"/>
            <ac:graphicFrameMk id="7" creationId="{9B61CC2F-17D9-E6A9-D1A8-11B47E6F047B}"/>
          </ac:graphicFrameMkLst>
        </pc:graphicFrameChg>
        <pc:picChg chg="add del mod">
          <ac:chgData name="Roberto Gallardo" userId="49a044883f185952" providerId="LiveId" clId="{F4D957F6-5F28-4DDF-9F2A-0CB3D547903A}" dt="2022-07-09T11:54:39.316" v="2585" actId="478"/>
          <ac:picMkLst>
            <pc:docMk/>
            <pc:sldMk cId="3231157596" sldId="257"/>
            <ac:picMk id="6" creationId="{A066F754-BB92-7857-D47A-698FA143DEC6}"/>
          </ac:picMkLst>
        </pc:picChg>
        <pc:picChg chg="add mod">
          <ac:chgData name="Roberto Gallardo" userId="49a044883f185952" providerId="LiveId" clId="{F4D957F6-5F28-4DDF-9F2A-0CB3D547903A}" dt="2022-07-09T11:55:07.064" v="2612"/>
          <ac:picMkLst>
            <pc:docMk/>
            <pc:sldMk cId="3231157596" sldId="257"/>
            <ac:picMk id="9" creationId="{4C80B7C1-B3BA-2E43-C7BF-799C557FB131}"/>
          </ac:picMkLst>
        </pc:picChg>
      </pc:sldChg>
      <pc:sldChg chg="new del">
        <pc:chgData name="Roberto Gallardo" userId="49a044883f185952" providerId="LiveId" clId="{F4D957F6-5F28-4DDF-9F2A-0CB3D547903A}" dt="2022-07-04T13:41:51.981" v="399" actId="47"/>
        <pc:sldMkLst>
          <pc:docMk/>
          <pc:sldMk cId="1694346498" sldId="258"/>
        </pc:sldMkLst>
      </pc:sldChg>
      <pc:sldChg chg="addSp delSp modSp add mod">
        <pc:chgData name="Roberto Gallardo" userId="49a044883f185952" providerId="LiveId" clId="{F4D957F6-5F28-4DDF-9F2A-0CB3D547903A}" dt="2022-07-09T11:55:09.178" v="2614"/>
        <pc:sldMkLst>
          <pc:docMk/>
          <pc:sldMk cId="3702837515" sldId="258"/>
        </pc:sldMkLst>
        <pc:spChg chg="mod">
          <ac:chgData name="Roberto Gallardo" userId="49a044883f185952" providerId="LiveId" clId="{F4D957F6-5F28-4DDF-9F2A-0CB3D547903A}" dt="2022-07-09T11:55:01.099" v="2611" actId="20577"/>
          <ac:spMkLst>
            <pc:docMk/>
            <pc:sldMk cId="3702837515" sldId="258"/>
            <ac:spMk id="2" creationId="{C03B1400-5F72-D252-1DBE-EDCD6E63B07C}"/>
          </ac:spMkLst>
        </pc:spChg>
        <pc:spChg chg="add del mod">
          <ac:chgData name="Roberto Gallardo" userId="49a044883f185952" providerId="LiveId" clId="{F4D957F6-5F28-4DDF-9F2A-0CB3D547903A}" dt="2022-07-04T14:05:16.775" v="615" actId="478"/>
          <ac:spMkLst>
            <pc:docMk/>
            <pc:sldMk cId="3702837515" sldId="258"/>
            <ac:spMk id="5" creationId="{F35BA5B5-F5A8-11C3-6476-93C43D67E9F8}"/>
          </ac:spMkLst>
        </pc:spChg>
        <pc:graphicFrameChg chg="del">
          <ac:chgData name="Roberto Gallardo" userId="49a044883f185952" providerId="LiveId" clId="{F4D957F6-5F28-4DDF-9F2A-0CB3D547903A}" dt="2022-07-04T14:05:04.265" v="612" actId="478"/>
          <ac:graphicFrameMkLst>
            <pc:docMk/>
            <pc:sldMk cId="3702837515" sldId="258"/>
            <ac:graphicFrameMk id="7" creationId="{9B61CC2F-17D9-E6A9-D1A8-11B47E6F047B}"/>
          </ac:graphicFrameMkLst>
        </pc:graphicFrameChg>
        <pc:graphicFrameChg chg="add mod ord">
          <ac:chgData name="Roberto Gallardo" userId="49a044883f185952" providerId="LiveId" clId="{F4D957F6-5F28-4DDF-9F2A-0CB3D547903A}" dt="2022-07-05T23:58:30.651" v="1172" actId="14100"/>
          <ac:graphicFrameMkLst>
            <pc:docMk/>
            <pc:sldMk cId="3702837515" sldId="258"/>
            <ac:graphicFrameMk id="9" creationId="{A966EEC7-83EF-771C-E559-BAB55F5A621C}"/>
          </ac:graphicFrameMkLst>
        </pc:graphicFrameChg>
        <pc:picChg chg="add del mod">
          <ac:chgData name="Roberto Gallardo" userId="49a044883f185952" providerId="LiveId" clId="{F4D957F6-5F28-4DDF-9F2A-0CB3D547903A}" dt="2022-07-09T11:54:58.115" v="2603" actId="478"/>
          <ac:picMkLst>
            <pc:docMk/>
            <pc:sldMk cId="3702837515" sldId="258"/>
            <ac:picMk id="6" creationId="{792D06A5-5E8D-87EF-CADE-3B4698056979}"/>
          </ac:picMkLst>
        </pc:picChg>
        <pc:picChg chg="add mod">
          <ac:chgData name="Roberto Gallardo" userId="49a044883f185952" providerId="LiveId" clId="{F4D957F6-5F28-4DDF-9F2A-0CB3D547903A}" dt="2022-07-09T11:55:09.178" v="2614"/>
          <ac:picMkLst>
            <pc:docMk/>
            <pc:sldMk cId="3702837515" sldId="258"/>
            <ac:picMk id="7" creationId="{3635A42C-C9F1-DAA3-7FE7-1EB8257A0E2E}"/>
          </ac:picMkLst>
        </pc:picChg>
      </pc:sldChg>
      <pc:sldChg chg="addSp delSp modSp add mod">
        <pc:chgData name="Roberto Gallardo" userId="49a044883f185952" providerId="LiveId" clId="{F4D957F6-5F28-4DDF-9F2A-0CB3D547903A}" dt="2022-07-09T11:55:08.354" v="2613"/>
        <pc:sldMkLst>
          <pc:docMk/>
          <pc:sldMk cId="2519083202" sldId="259"/>
        </pc:sldMkLst>
        <pc:spChg chg="mod">
          <ac:chgData name="Roberto Gallardo" userId="49a044883f185952" providerId="LiveId" clId="{F4D957F6-5F28-4DDF-9F2A-0CB3D547903A}" dt="2022-07-09T11:54:51.839" v="2602" actId="20577"/>
          <ac:spMkLst>
            <pc:docMk/>
            <pc:sldMk cId="2519083202" sldId="259"/>
            <ac:spMk id="2" creationId="{C03B1400-5F72-D252-1DBE-EDCD6E63B07C}"/>
          </ac:spMkLst>
        </pc:spChg>
        <pc:spChg chg="add del mod">
          <ac:chgData name="Roberto Gallardo" userId="49a044883f185952" providerId="LiveId" clId="{F4D957F6-5F28-4DDF-9F2A-0CB3D547903A}" dt="2022-07-04T14:05:26.242" v="617" actId="478"/>
          <ac:spMkLst>
            <pc:docMk/>
            <pc:sldMk cId="2519083202" sldId="259"/>
            <ac:spMk id="5" creationId="{E4522086-734A-4751-2DD8-F953C4A9B319}"/>
          </ac:spMkLst>
        </pc:spChg>
        <pc:graphicFrameChg chg="del">
          <ac:chgData name="Roberto Gallardo" userId="49a044883f185952" providerId="LiveId" clId="{F4D957F6-5F28-4DDF-9F2A-0CB3D547903A}" dt="2022-07-04T14:05:22.960" v="616" actId="478"/>
          <ac:graphicFrameMkLst>
            <pc:docMk/>
            <pc:sldMk cId="2519083202" sldId="259"/>
            <ac:graphicFrameMk id="7" creationId="{9B61CC2F-17D9-E6A9-D1A8-11B47E6F047B}"/>
          </ac:graphicFrameMkLst>
        </pc:graphicFrameChg>
        <pc:graphicFrameChg chg="add mod">
          <ac:chgData name="Roberto Gallardo" userId="49a044883f185952" providerId="LiveId" clId="{F4D957F6-5F28-4DDF-9F2A-0CB3D547903A}" dt="2022-07-05T23:58:39.611" v="1178" actId="14100"/>
          <ac:graphicFrameMkLst>
            <pc:docMk/>
            <pc:sldMk cId="2519083202" sldId="259"/>
            <ac:graphicFrameMk id="9" creationId="{BF6DEC76-8E72-6168-70C1-6709AC56F21B}"/>
          </ac:graphicFrameMkLst>
        </pc:graphicFrameChg>
        <pc:picChg chg="add del mod">
          <ac:chgData name="Roberto Gallardo" userId="49a044883f185952" providerId="LiveId" clId="{F4D957F6-5F28-4DDF-9F2A-0CB3D547903A}" dt="2022-07-09T11:54:48.226" v="2594" actId="478"/>
          <ac:picMkLst>
            <pc:docMk/>
            <pc:sldMk cId="2519083202" sldId="259"/>
            <ac:picMk id="6" creationId="{6381212E-2096-E773-174F-A570491440D3}"/>
          </ac:picMkLst>
        </pc:picChg>
        <pc:picChg chg="add mod">
          <ac:chgData name="Roberto Gallardo" userId="49a044883f185952" providerId="LiveId" clId="{F4D957F6-5F28-4DDF-9F2A-0CB3D547903A}" dt="2022-07-09T11:55:08.354" v="2613"/>
          <ac:picMkLst>
            <pc:docMk/>
            <pc:sldMk cId="2519083202" sldId="259"/>
            <ac:picMk id="7" creationId="{67FD3867-05D1-0561-5CAF-29C1272358C1}"/>
          </ac:picMkLst>
        </pc:picChg>
      </pc:sldChg>
      <pc:sldChg chg="addSp modSp add mod ord">
        <pc:chgData name="Roberto Gallardo" userId="49a044883f185952" providerId="LiveId" clId="{F4D957F6-5F28-4DDF-9F2A-0CB3D547903A}" dt="2022-07-09T14:08:09.643" v="8165" actId="27918"/>
        <pc:sldMkLst>
          <pc:docMk/>
          <pc:sldMk cId="3877078759" sldId="260"/>
        </pc:sldMkLst>
        <pc:spChg chg="mod">
          <ac:chgData name="Roberto Gallardo" userId="49a044883f185952" providerId="LiveId" clId="{F4D957F6-5F28-4DDF-9F2A-0CB3D547903A}" dt="2022-07-05T23:58:19.248" v="1165" actId="1035"/>
          <ac:spMkLst>
            <pc:docMk/>
            <pc:sldMk cId="3877078759" sldId="260"/>
            <ac:spMk id="2" creationId="{C03B1400-5F72-D252-1DBE-EDCD6E63B07C}"/>
          </ac:spMkLst>
        </pc:spChg>
        <pc:spChg chg="mod">
          <ac:chgData name="Roberto Gallardo" userId="49a044883f185952" providerId="LiveId" clId="{F4D957F6-5F28-4DDF-9F2A-0CB3D547903A}" dt="2022-07-04T14:03:41.734" v="601" actId="20577"/>
          <ac:spMkLst>
            <pc:docMk/>
            <pc:sldMk cId="3877078759" sldId="260"/>
            <ac:spMk id="8" creationId="{40AF43CC-DD34-B66D-2100-C70E6AB3ED53}"/>
          </ac:spMkLst>
        </pc:spChg>
        <pc:graphicFrameChg chg="mod">
          <ac:chgData name="Roberto Gallardo" userId="49a044883f185952" providerId="LiveId" clId="{F4D957F6-5F28-4DDF-9F2A-0CB3D547903A}" dt="2022-07-05T23:58:23.023" v="1166" actId="14100"/>
          <ac:graphicFrameMkLst>
            <pc:docMk/>
            <pc:sldMk cId="3877078759" sldId="260"/>
            <ac:graphicFrameMk id="7" creationId="{9B61CC2F-17D9-E6A9-D1A8-11B47E6F047B}"/>
          </ac:graphicFrameMkLst>
        </pc:graphicFrameChg>
        <pc:picChg chg="add mod ord">
          <ac:chgData name="Roberto Gallardo" userId="49a044883f185952" providerId="LiveId" clId="{F4D957F6-5F28-4DDF-9F2A-0CB3D547903A}" dt="2022-07-09T11:31:30.037" v="2096" actId="29295"/>
          <ac:picMkLst>
            <pc:docMk/>
            <pc:sldMk cId="3877078759" sldId="260"/>
            <ac:picMk id="6" creationId="{7454CA65-C29D-E836-52C1-21A108BA680B}"/>
          </ac:picMkLst>
        </pc:picChg>
      </pc:sldChg>
      <pc:sldChg chg="addSp delSp modSp add mod">
        <pc:chgData name="Roberto Gallardo" userId="49a044883f185952" providerId="LiveId" clId="{F4D957F6-5F28-4DDF-9F2A-0CB3D547903A}" dt="2022-07-09T11:54:28.530" v="2584"/>
        <pc:sldMkLst>
          <pc:docMk/>
          <pc:sldMk cId="1175010214" sldId="261"/>
        </pc:sldMkLst>
        <pc:spChg chg="mod">
          <ac:chgData name="Roberto Gallardo" userId="49a044883f185952" providerId="LiveId" clId="{F4D957F6-5F28-4DDF-9F2A-0CB3D547903A}" dt="2022-07-09T11:54:22.180" v="2583" actId="20577"/>
          <ac:spMkLst>
            <pc:docMk/>
            <pc:sldMk cId="1175010214" sldId="261"/>
            <ac:spMk id="2" creationId="{C03B1400-5F72-D252-1DBE-EDCD6E63B07C}"/>
          </ac:spMkLst>
        </pc:spChg>
        <pc:spChg chg="add del mod">
          <ac:chgData name="Roberto Gallardo" userId="49a044883f185952" providerId="LiveId" clId="{F4D957F6-5F28-4DDF-9F2A-0CB3D547903A}" dt="2022-07-04T19:52:10.731" v="813" actId="478"/>
          <ac:spMkLst>
            <pc:docMk/>
            <pc:sldMk cId="1175010214" sldId="261"/>
            <ac:spMk id="5" creationId="{F8729B19-6423-02C3-801F-FC09391B0E22}"/>
          </ac:spMkLst>
        </pc:spChg>
        <pc:graphicFrameChg chg="del">
          <ac:chgData name="Roberto Gallardo" userId="49a044883f185952" providerId="LiveId" clId="{F4D957F6-5F28-4DDF-9F2A-0CB3D547903A}" dt="2022-07-04T19:52:08.068" v="812" actId="478"/>
          <ac:graphicFrameMkLst>
            <pc:docMk/>
            <pc:sldMk cId="1175010214" sldId="261"/>
            <ac:graphicFrameMk id="7" creationId="{9B61CC2F-17D9-E6A9-D1A8-11B47E6F047B}"/>
          </ac:graphicFrameMkLst>
        </pc:graphicFrameChg>
        <pc:graphicFrameChg chg="add mod">
          <ac:chgData name="Roberto Gallardo" userId="49a044883f185952" providerId="LiveId" clId="{F4D957F6-5F28-4DDF-9F2A-0CB3D547903A}" dt="2022-07-05T23:58:58.484" v="1190" actId="14100"/>
          <ac:graphicFrameMkLst>
            <pc:docMk/>
            <pc:sldMk cId="1175010214" sldId="261"/>
            <ac:graphicFrameMk id="10" creationId="{FD2FC231-ACEF-5FF2-C4CE-DFF89EB85588}"/>
          </ac:graphicFrameMkLst>
        </pc:graphicFrameChg>
        <pc:picChg chg="add del mod">
          <ac:chgData name="Roberto Gallardo" userId="49a044883f185952" providerId="LiveId" clId="{F4D957F6-5F28-4DDF-9F2A-0CB3D547903A}" dt="2022-07-09T11:54:17.610" v="2579" actId="478"/>
          <ac:picMkLst>
            <pc:docMk/>
            <pc:sldMk cId="1175010214" sldId="261"/>
            <ac:picMk id="6" creationId="{F6A5490A-A5E9-61BB-9097-88457932C0C3}"/>
          </ac:picMkLst>
        </pc:picChg>
        <pc:picChg chg="add mod">
          <ac:chgData name="Roberto Gallardo" userId="49a044883f185952" providerId="LiveId" clId="{F4D957F6-5F28-4DDF-9F2A-0CB3D547903A}" dt="2022-07-09T11:54:28.530" v="2584"/>
          <ac:picMkLst>
            <pc:docMk/>
            <pc:sldMk cId="1175010214" sldId="261"/>
            <ac:picMk id="7" creationId="{A7EE6CAD-9CCE-2BE9-847E-C3EEA2C6DFDF}"/>
          </ac:picMkLst>
        </pc:picChg>
      </pc:sldChg>
      <pc:sldChg chg="new del">
        <pc:chgData name="Roberto Gallardo" userId="49a044883f185952" providerId="LiveId" clId="{F4D957F6-5F28-4DDF-9F2A-0CB3D547903A}" dt="2022-07-05T23:36:44.069" v="870" actId="47"/>
        <pc:sldMkLst>
          <pc:docMk/>
          <pc:sldMk cId="374676176" sldId="262"/>
        </pc:sldMkLst>
      </pc:sldChg>
      <pc:sldChg chg="addSp delSp modSp add del mod">
        <pc:chgData name="Roberto Gallardo" userId="49a044883f185952" providerId="LiveId" clId="{F4D957F6-5F28-4DDF-9F2A-0CB3D547903A}" dt="2022-07-04T23:52:27.439" v="868" actId="47"/>
        <pc:sldMkLst>
          <pc:docMk/>
          <pc:sldMk cId="2406181170" sldId="262"/>
        </pc:sldMkLst>
        <pc:graphicFrameChg chg="del">
          <ac:chgData name="Roberto Gallardo" userId="49a044883f185952" providerId="LiveId" clId="{F4D957F6-5F28-4DDF-9F2A-0CB3D547903A}" dt="2022-07-04T20:37:30.519" v="864" actId="478"/>
          <ac:graphicFrameMkLst>
            <pc:docMk/>
            <pc:sldMk cId="2406181170" sldId="262"/>
            <ac:graphicFrameMk id="10" creationId="{FD2FC231-ACEF-5FF2-C4CE-DFF89EB85588}"/>
          </ac:graphicFrameMkLst>
        </pc:graphicFrameChg>
        <pc:picChg chg="add del mod">
          <ac:chgData name="Roberto Gallardo" userId="49a044883f185952" providerId="LiveId" clId="{F4D957F6-5F28-4DDF-9F2A-0CB3D547903A}" dt="2022-07-04T20:37:37.475" v="867" actId="478"/>
          <ac:picMkLst>
            <pc:docMk/>
            <pc:sldMk cId="2406181170" sldId="262"/>
            <ac:picMk id="5" creationId="{DBDCDB6D-D59A-1816-23E8-1A051896D947}"/>
          </ac:picMkLst>
        </pc:picChg>
      </pc:sldChg>
      <pc:sldChg chg="addSp delSp modSp add mod">
        <pc:chgData name="Roberto Gallardo" userId="49a044883f185952" providerId="LiveId" clId="{F4D957F6-5F28-4DDF-9F2A-0CB3D547903A}" dt="2022-07-09T15:00:57.360" v="8199"/>
        <pc:sldMkLst>
          <pc:docMk/>
          <pc:sldMk cId="3490389620" sldId="262"/>
        </pc:sldMkLst>
        <pc:spChg chg="mod">
          <ac:chgData name="Roberto Gallardo" userId="49a044883f185952" providerId="LiveId" clId="{F4D957F6-5F28-4DDF-9F2A-0CB3D547903A}" dt="2022-07-05T23:59:09.167" v="1195" actId="1035"/>
          <ac:spMkLst>
            <pc:docMk/>
            <pc:sldMk cId="3490389620" sldId="262"/>
            <ac:spMk id="2" creationId="{C03B1400-5F72-D252-1DBE-EDCD6E63B07C}"/>
          </ac:spMkLst>
        </pc:spChg>
        <pc:graphicFrameChg chg="del">
          <ac:chgData name="Roberto Gallardo" userId="49a044883f185952" providerId="LiveId" clId="{F4D957F6-5F28-4DDF-9F2A-0CB3D547903A}" dt="2022-07-05T23:36:50.780" v="872" actId="478"/>
          <ac:graphicFrameMkLst>
            <pc:docMk/>
            <pc:sldMk cId="3490389620" sldId="262"/>
            <ac:graphicFrameMk id="10" creationId="{FD2FC231-ACEF-5FF2-C4CE-DFF89EB85588}"/>
          </ac:graphicFrameMkLst>
        </pc:graphicFrameChg>
        <pc:graphicFrameChg chg="add mod">
          <ac:chgData name="Roberto Gallardo" userId="49a044883f185952" providerId="LiveId" clId="{F4D957F6-5F28-4DDF-9F2A-0CB3D547903A}" dt="2022-07-05T23:47:46.159" v="965" actId="14100"/>
          <ac:graphicFrameMkLst>
            <pc:docMk/>
            <pc:sldMk cId="3490389620" sldId="262"/>
            <ac:graphicFrameMk id="12" creationId="{DABF0741-AD27-F6EC-F006-1930AC38E762}"/>
          </ac:graphicFrameMkLst>
        </pc:graphicFrameChg>
        <pc:picChg chg="add del mod">
          <ac:chgData name="Roberto Gallardo" userId="49a044883f185952" providerId="LiveId" clId="{F4D957F6-5F28-4DDF-9F2A-0CB3D547903A}" dt="2022-07-05T23:39:47.371" v="922" actId="478"/>
          <ac:picMkLst>
            <pc:docMk/>
            <pc:sldMk cId="3490389620" sldId="262"/>
            <ac:picMk id="5" creationId="{AACA0CCE-BC2B-2BF5-977B-B9460A4BA9E4}"/>
          </ac:picMkLst>
        </pc:picChg>
        <pc:picChg chg="add del mod">
          <ac:chgData name="Roberto Gallardo" userId="49a044883f185952" providerId="LiveId" clId="{F4D957F6-5F28-4DDF-9F2A-0CB3D547903A}" dt="2022-07-09T14:56:13.616" v="8180" actId="478"/>
          <ac:picMkLst>
            <pc:docMk/>
            <pc:sldMk cId="3490389620" sldId="262"/>
            <ac:picMk id="7" creationId="{05BEC296-D136-61E4-9645-991475DD4033}"/>
          </ac:picMkLst>
        </pc:picChg>
        <pc:picChg chg="add del mod ord">
          <ac:chgData name="Roberto Gallardo" userId="49a044883f185952" providerId="LiveId" clId="{F4D957F6-5F28-4DDF-9F2A-0CB3D547903A}" dt="2022-07-05T23:54:55.571" v="1086" actId="478"/>
          <ac:picMkLst>
            <pc:docMk/>
            <pc:sldMk cId="3490389620" sldId="262"/>
            <ac:picMk id="7" creationId="{0F2FC452-A036-55DB-A45E-B0BD71C927E0}"/>
          </ac:picMkLst>
        </pc:picChg>
        <pc:picChg chg="add mod">
          <ac:chgData name="Roberto Gallardo" userId="49a044883f185952" providerId="LiveId" clId="{F4D957F6-5F28-4DDF-9F2A-0CB3D547903A}" dt="2022-07-09T15:00:57.360" v="8199"/>
          <ac:picMkLst>
            <pc:docMk/>
            <pc:sldMk cId="3490389620" sldId="262"/>
            <ac:picMk id="9" creationId="{40A36035-9B52-D1D4-A560-EC18D0BAF6E7}"/>
          </ac:picMkLst>
        </pc:picChg>
        <pc:picChg chg="add del mod">
          <ac:chgData name="Roberto Gallardo" userId="49a044883f185952" providerId="LiveId" clId="{F4D957F6-5F28-4DDF-9F2A-0CB3D547903A}" dt="2022-07-06T00:00:21.051" v="1201" actId="478"/>
          <ac:picMkLst>
            <pc:docMk/>
            <pc:sldMk cId="3490389620" sldId="262"/>
            <ac:picMk id="14" creationId="{DAB8A7CB-284C-E555-E0FE-AED8C5C708FC}"/>
          </ac:picMkLst>
        </pc:picChg>
        <pc:picChg chg="add mod">
          <ac:chgData name="Roberto Gallardo" userId="49a044883f185952" providerId="LiveId" clId="{F4D957F6-5F28-4DDF-9F2A-0CB3D547903A}" dt="2022-07-06T00:01:36.275" v="1266" actId="1038"/>
          <ac:picMkLst>
            <pc:docMk/>
            <pc:sldMk cId="3490389620" sldId="262"/>
            <ac:picMk id="16" creationId="{532B7758-F2FB-D91F-D115-90D2274360A1}"/>
          </ac:picMkLst>
        </pc:picChg>
      </pc:sldChg>
      <pc:sldChg chg="addSp delSp modSp add mod">
        <pc:chgData name="Roberto Gallardo" userId="49a044883f185952" providerId="LiveId" clId="{F4D957F6-5F28-4DDF-9F2A-0CB3D547903A}" dt="2022-07-09T15:02:33.224" v="8212"/>
        <pc:sldMkLst>
          <pc:docMk/>
          <pc:sldMk cId="77472702" sldId="263"/>
        </pc:sldMkLst>
        <pc:spChg chg="mod">
          <ac:chgData name="Roberto Gallardo" userId="49a044883f185952" providerId="LiveId" clId="{F4D957F6-5F28-4DDF-9F2A-0CB3D547903A}" dt="2022-07-05T23:59:14.066" v="1200" actId="1035"/>
          <ac:spMkLst>
            <pc:docMk/>
            <pc:sldMk cId="77472702" sldId="263"/>
            <ac:spMk id="2" creationId="{C03B1400-5F72-D252-1DBE-EDCD6E63B07C}"/>
          </ac:spMkLst>
        </pc:spChg>
        <pc:picChg chg="add mod">
          <ac:chgData name="Roberto Gallardo" userId="49a044883f185952" providerId="LiveId" clId="{F4D957F6-5F28-4DDF-9F2A-0CB3D547903A}" dt="2022-07-09T15:02:26.688" v="8211" actId="1038"/>
          <ac:picMkLst>
            <pc:docMk/>
            <pc:sldMk cId="77472702" sldId="263"/>
            <ac:picMk id="5" creationId="{303AB224-E49B-E891-8C0A-4A735046CFEA}"/>
          </ac:picMkLst>
        </pc:picChg>
        <pc:picChg chg="add del mod">
          <ac:chgData name="Roberto Gallardo" userId="49a044883f185952" providerId="LiveId" clId="{F4D957F6-5F28-4DDF-9F2A-0CB3D547903A}" dt="2022-07-05T23:53:47.139" v="1028" actId="478"/>
          <ac:picMkLst>
            <pc:docMk/>
            <pc:sldMk cId="77472702" sldId="263"/>
            <ac:picMk id="5" creationId="{740E0DC0-2CE3-886F-3E34-286C9D9408DC}"/>
          </ac:picMkLst>
        </pc:picChg>
        <pc:picChg chg="add del mod">
          <ac:chgData name="Roberto Gallardo" userId="49a044883f185952" providerId="LiveId" clId="{F4D957F6-5F28-4DDF-9F2A-0CB3D547903A}" dt="2022-07-09T14:56:15.666" v="8181" actId="478"/>
          <ac:picMkLst>
            <pc:docMk/>
            <pc:sldMk cId="77472702" sldId="263"/>
            <ac:picMk id="7" creationId="{097170E3-8F85-A0B5-51FE-1F6BF9C95AC3}"/>
          </ac:picMkLst>
        </pc:picChg>
        <pc:picChg chg="del">
          <ac:chgData name="Roberto Gallardo" userId="49a044883f185952" providerId="LiveId" clId="{F4D957F6-5F28-4DDF-9F2A-0CB3D547903A}" dt="2022-07-05T23:49:13.216" v="985" actId="478"/>
          <ac:picMkLst>
            <pc:docMk/>
            <pc:sldMk cId="77472702" sldId="263"/>
            <ac:picMk id="7" creationId="{0F2FC452-A036-55DB-A45E-B0BD71C927E0}"/>
          </ac:picMkLst>
        </pc:picChg>
        <pc:picChg chg="add del mod">
          <ac:chgData name="Roberto Gallardo" userId="49a044883f185952" providerId="LiveId" clId="{F4D957F6-5F28-4DDF-9F2A-0CB3D547903A}" dt="2022-07-09T15:01:31.002" v="8200" actId="478"/>
          <ac:picMkLst>
            <pc:docMk/>
            <pc:sldMk cId="77472702" sldId="263"/>
            <ac:picMk id="9" creationId="{1B0BC584-9937-A428-5CAB-14C5213AF2AA}"/>
          </ac:picMkLst>
        </pc:picChg>
        <pc:picChg chg="add mod">
          <ac:chgData name="Roberto Gallardo" userId="49a044883f185952" providerId="LiveId" clId="{F4D957F6-5F28-4DDF-9F2A-0CB3D547903A}" dt="2022-07-09T15:02:33.224" v="8212"/>
          <ac:picMkLst>
            <pc:docMk/>
            <pc:sldMk cId="77472702" sldId="263"/>
            <ac:picMk id="10" creationId="{E3CBDF83-C9E0-8DEA-6624-BCD9FB8AFD58}"/>
          </ac:picMkLst>
        </pc:picChg>
      </pc:sldChg>
      <pc:sldChg chg="addSp delSp modSp add mod">
        <pc:chgData name="Roberto Gallardo" userId="49a044883f185952" providerId="LiveId" clId="{F4D957F6-5F28-4DDF-9F2A-0CB3D547903A}" dt="2022-07-09T15:04:25.416" v="8231"/>
        <pc:sldMkLst>
          <pc:docMk/>
          <pc:sldMk cId="1409358877" sldId="264"/>
        </pc:sldMkLst>
        <pc:spChg chg="mod">
          <ac:chgData name="Roberto Gallardo" userId="49a044883f185952" providerId="LiveId" clId="{F4D957F6-5F28-4DDF-9F2A-0CB3D547903A}" dt="2022-07-06T00:04:10.710" v="1285" actId="20577"/>
          <ac:spMkLst>
            <pc:docMk/>
            <pc:sldMk cId="1409358877" sldId="264"/>
            <ac:spMk id="2" creationId="{C03B1400-5F72-D252-1DBE-EDCD6E63B07C}"/>
          </ac:spMkLst>
        </pc:spChg>
        <pc:picChg chg="add del mod">
          <ac:chgData name="Roberto Gallardo" userId="49a044883f185952" providerId="LiveId" clId="{F4D957F6-5F28-4DDF-9F2A-0CB3D547903A}" dt="2022-07-09T15:03:45.536" v="8220" actId="478"/>
          <ac:picMkLst>
            <pc:docMk/>
            <pc:sldMk cId="1409358877" sldId="264"/>
            <ac:picMk id="5" creationId="{5A13C3AD-A815-DC65-CF6C-5595609406F4}"/>
          </ac:picMkLst>
        </pc:picChg>
        <pc:picChg chg="add mod">
          <ac:chgData name="Roberto Gallardo" userId="49a044883f185952" providerId="LiveId" clId="{F4D957F6-5F28-4DDF-9F2A-0CB3D547903A}" dt="2022-07-09T15:04:18.992" v="8230" actId="1038"/>
          <ac:picMkLst>
            <pc:docMk/>
            <pc:sldMk cId="1409358877" sldId="264"/>
            <ac:picMk id="6" creationId="{817F9E4A-4025-B392-AFF8-B9D5E4039647}"/>
          </ac:picMkLst>
        </pc:picChg>
        <pc:picChg chg="add del mod">
          <ac:chgData name="Roberto Gallardo" userId="49a044883f185952" providerId="LiveId" clId="{F4D957F6-5F28-4DDF-9F2A-0CB3D547903A}" dt="2022-07-09T15:02:37.400" v="8213" actId="478"/>
          <ac:picMkLst>
            <pc:docMk/>
            <pc:sldMk cId="1409358877" sldId="264"/>
            <ac:picMk id="7" creationId="{FE5BA307-5820-82B8-8DB0-C5B1DFF2F359}"/>
          </ac:picMkLst>
        </pc:picChg>
        <pc:picChg chg="del">
          <ac:chgData name="Roberto Gallardo" userId="49a044883f185952" providerId="LiveId" clId="{F4D957F6-5F28-4DDF-9F2A-0CB3D547903A}" dt="2022-07-06T00:05:54.775" v="1286" actId="478"/>
          <ac:picMkLst>
            <pc:docMk/>
            <pc:sldMk cId="1409358877" sldId="264"/>
            <ac:picMk id="9" creationId="{1B0BC584-9937-A428-5CAB-14C5213AF2AA}"/>
          </ac:picMkLst>
        </pc:picChg>
        <pc:picChg chg="add mod">
          <ac:chgData name="Roberto Gallardo" userId="49a044883f185952" providerId="LiveId" clId="{F4D957F6-5F28-4DDF-9F2A-0CB3D547903A}" dt="2022-07-09T15:04:25.416" v="8231"/>
          <ac:picMkLst>
            <pc:docMk/>
            <pc:sldMk cId="1409358877" sldId="264"/>
            <ac:picMk id="10" creationId="{4FA3A5ED-9527-3CBE-0201-008BF921D18E}"/>
          </ac:picMkLst>
        </pc:picChg>
      </pc:sldChg>
      <pc:sldChg chg="addSp delSp modSp add mod">
        <pc:chgData name="Roberto Gallardo" userId="49a044883f185952" providerId="LiveId" clId="{F4D957F6-5F28-4DDF-9F2A-0CB3D547903A}" dt="2022-07-09T15:05:04.400" v="8232"/>
        <pc:sldMkLst>
          <pc:docMk/>
          <pc:sldMk cId="2546441270" sldId="265"/>
        </pc:sldMkLst>
        <pc:spChg chg="mod">
          <ac:chgData name="Roberto Gallardo" userId="49a044883f185952" providerId="LiveId" clId="{F4D957F6-5F28-4DDF-9F2A-0CB3D547903A}" dt="2022-07-06T00:09:26.194" v="1363" actId="20577"/>
          <ac:spMkLst>
            <pc:docMk/>
            <pc:sldMk cId="2546441270" sldId="265"/>
            <ac:spMk id="2" creationId="{C03B1400-5F72-D252-1DBE-EDCD6E63B07C}"/>
          </ac:spMkLst>
        </pc:spChg>
        <pc:picChg chg="del">
          <ac:chgData name="Roberto Gallardo" userId="49a044883f185952" providerId="LiveId" clId="{F4D957F6-5F28-4DDF-9F2A-0CB3D547903A}" dt="2022-07-06T00:11:28.158" v="1369" actId="478"/>
          <ac:picMkLst>
            <pc:docMk/>
            <pc:sldMk cId="2546441270" sldId="265"/>
            <ac:picMk id="5" creationId="{5A13C3AD-A815-DC65-CF6C-5595609406F4}"/>
          </ac:picMkLst>
        </pc:picChg>
        <pc:picChg chg="add mod">
          <ac:chgData name="Roberto Gallardo" userId="49a044883f185952" providerId="LiveId" clId="{F4D957F6-5F28-4DDF-9F2A-0CB3D547903A}" dt="2022-07-06T22:26:18.291" v="1515" actId="1038"/>
          <ac:picMkLst>
            <pc:docMk/>
            <pc:sldMk cId="2546441270" sldId="265"/>
            <ac:picMk id="6" creationId="{B3E748F8-FB72-5130-50B9-55FFFF992B0F}"/>
          </ac:picMkLst>
        </pc:picChg>
        <pc:picChg chg="add del mod">
          <ac:chgData name="Roberto Gallardo" userId="49a044883f185952" providerId="LiveId" clId="{F4D957F6-5F28-4DDF-9F2A-0CB3D547903A}" dt="2022-07-09T15:02:40.416" v="8214" actId="478"/>
          <ac:picMkLst>
            <pc:docMk/>
            <pc:sldMk cId="2546441270" sldId="265"/>
            <ac:picMk id="7" creationId="{9F8E6FF6-1987-2E62-8145-F2E24A6FF961}"/>
          </ac:picMkLst>
        </pc:picChg>
        <pc:picChg chg="add mod">
          <ac:chgData name="Roberto Gallardo" userId="49a044883f185952" providerId="LiveId" clId="{F4D957F6-5F28-4DDF-9F2A-0CB3D547903A}" dt="2022-07-09T15:05:04.400" v="8232"/>
          <ac:picMkLst>
            <pc:docMk/>
            <pc:sldMk cId="2546441270" sldId="265"/>
            <ac:picMk id="9" creationId="{47CC0AA5-019F-7850-820E-5AEDCC3CAAD7}"/>
          </ac:picMkLst>
        </pc:picChg>
      </pc:sldChg>
      <pc:sldChg chg="addSp delSp modSp add mod">
        <pc:chgData name="Roberto Gallardo" userId="49a044883f185952" providerId="LiveId" clId="{F4D957F6-5F28-4DDF-9F2A-0CB3D547903A}" dt="2022-07-09T15:05:17.314" v="8233"/>
        <pc:sldMkLst>
          <pc:docMk/>
          <pc:sldMk cId="3919704792" sldId="266"/>
        </pc:sldMkLst>
        <pc:spChg chg="mod">
          <ac:chgData name="Roberto Gallardo" userId="49a044883f185952" providerId="LiveId" clId="{F4D957F6-5F28-4DDF-9F2A-0CB3D547903A}" dt="2022-07-06T22:23:17.167" v="1442" actId="27636"/>
          <ac:spMkLst>
            <pc:docMk/>
            <pc:sldMk cId="3919704792" sldId="266"/>
            <ac:spMk id="2" creationId="{C03B1400-5F72-D252-1DBE-EDCD6E63B07C}"/>
          </ac:spMkLst>
        </pc:spChg>
        <pc:picChg chg="add mod">
          <ac:chgData name="Roberto Gallardo" userId="49a044883f185952" providerId="LiveId" clId="{F4D957F6-5F28-4DDF-9F2A-0CB3D547903A}" dt="2022-07-06T22:24:12.291" v="1508" actId="1037"/>
          <ac:picMkLst>
            <pc:docMk/>
            <pc:sldMk cId="3919704792" sldId="266"/>
            <ac:picMk id="5" creationId="{088843C9-77E3-805A-9179-C1A1C9A9F778}"/>
          </ac:picMkLst>
        </pc:picChg>
        <pc:picChg chg="del">
          <ac:chgData name="Roberto Gallardo" userId="49a044883f185952" providerId="LiveId" clId="{F4D957F6-5F28-4DDF-9F2A-0CB3D547903A}" dt="2022-07-06T22:23:19.507" v="1443" actId="478"/>
          <ac:picMkLst>
            <pc:docMk/>
            <pc:sldMk cId="3919704792" sldId="266"/>
            <ac:picMk id="6" creationId="{B3E748F8-FB72-5130-50B9-55FFFF992B0F}"/>
          </ac:picMkLst>
        </pc:picChg>
        <pc:picChg chg="add del mod">
          <ac:chgData name="Roberto Gallardo" userId="49a044883f185952" providerId="LiveId" clId="{F4D957F6-5F28-4DDF-9F2A-0CB3D547903A}" dt="2022-07-09T15:02:42.281" v="8215" actId="478"/>
          <ac:picMkLst>
            <pc:docMk/>
            <pc:sldMk cId="3919704792" sldId="266"/>
            <ac:picMk id="7" creationId="{6CDE2789-26E2-7824-452C-DFD126337BBE}"/>
          </ac:picMkLst>
        </pc:picChg>
        <pc:picChg chg="add mod">
          <ac:chgData name="Roberto Gallardo" userId="49a044883f185952" providerId="LiveId" clId="{F4D957F6-5F28-4DDF-9F2A-0CB3D547903A}" dt="2022-07-09T15:05:17.314" v="8233"/>
          <ac:picMkLst>
            <pc:docMk/>
            <pc:sldMk cId="3919704792" sldId="266"/>
            <ac:picMk id="9" creationId="{9D726E44-68DE-8DC8-AE6E-567EAB42D17E}"/>
          </ac:picMkLst>
        </pc:picChg>
      </pc:sldChg>
      <pc:sldChg chg="add del ord">
        <pc:chgData name="Roberto Gallardo" userId="49a044883f185952" providerId="LiveId" clId="{F4D957F6-5F28-4DDF-9F2A-0CB3D547903A}" dt="2022-07-06T22:27:48.120" v="1519" actId="47"/>
        <pc:sldMkLst>
          <pc:docMk/>
          <pc:sldMk cId="467201158" sldId="267"/>
        </pc:sldMkLst>
      </pc:sldChg>
      <pc:sldChg chg="addSp delSp modSp add mod">
        <pc:chgData name="Roberto Gallardo" userId="49a044883f185952" providerId="LiveId" clId="{F4D957F6-5F28-4DDF-9F2A-0CB3D547903A}" dt="2022-07-09T15:05:31.574" v="8234"/>
        <pc:sldMkLst>
          <pc:docMk/>
          <pc:sldMk cId="4158874625" sldId="267"/>
        </pc:sldMkLst>
        <pc:spChg chg="mod">
          <ac:chgData name="Roberto Gallardo" userId="49a044883f185952" providerId="LiveId" clId="{F4D957F6-5F28-4DDF-9F2A-0CB3D547903A}" dt="2022-07-09T11:33:09.834" v="2182" actId="27636"/>
          <ac:spMkLst>
            <pc:docMk/>
            <pc:sldMk cId="4158874625" sldId="267"/>
            <ac:spMk id="2" creationId="{C03B1400-5F72-D252-1DBE-EDCD6E63B07C}"/>
          </ac:spMkLst>
        </pc:spChg>
        <pc:picChg chg="del">
          <ac:chgData name="Roberto Gallardo" userId="49a044883f185952" providerId="LiveId" clId="{F4D957F6-5F28-4DDF-9F2A-0CB3D547903A}" dt="2022-07-06T22:29:38.567" v="1554" actId="478"/>
          <ac:picMkLst>
            <pc:docMk/>
            <pc:sldMk cId="4158874625" sldId="267"/>
            <ac:picMk id="5" creationId="{088843C9-77E3-805A-9179-C1A1C9A9F778}"/>
          </ac:picMkLst>
        </pc:picChg>
        <pc:picChg chg="add del mod">
          <ac:chgData name="Roberto Gallardo" userId="49a044883f185952" providerId="LiveId" clId="{F4D957F6-5F28-4DDF-9F2A-0CB3D547903A}" dt="2022-07-06T22:30:25.055" v="1558" actId="478"/>
          <ac:picMkLst>
            <pc:docMk/>
            <pc:sldMk cId="4158874625" sldId="267"/>
            <ac:picMk id="6" creationId="{40ADAB00-C766-49C1-DC48-033C64C08FFD}"/>
          </ac:picMkLst>
        </pc:picChg>
        <pc:picChg chg="add del mod ord">
          <ac:chgData name="Roberto Gallardo" userId="49a044883f185952" providerId="LiveId" clId="{F4D957F6-5F28-4DDF-9F2A-0CB3D547903A}" dt="2022-07-09T11:32:52.656" v="2137" actId="478"/>
          <ac:picMkLst>
            <pc:docMk/>
            <pc:sldMk cId="4158874625" sldId="267"/>
            <ac:picMk id="7" creationId="{D2B795A0-9033-66D2-2D82-971B35A8C5F1}"/>
          </ac:picMkLst>
        </pc:picChg>
        <pc:picChg chg="add mod">
          <ac:chgData name="Roberto Gallardo" userId="49a044883f185952" providerId="LiveId" clId="{F4D957F6-5F28-4DDF-9F2A-0CB3D547903A}" dt="2022-07-06T22:33:03.484" v="1607" actId="1037"/>
          <ac:picMkLst>
            <pc:docMk/>
            <pc:sldMk cId="4158874625" sldId="267"/>
            <ac:picMk id="9" creationId="{A23C3077-18F4-D986-FD73-9EEB38CBB4EF}"/>
          </ac:picMkLst>
        </pc:picChg>
        <pc:picChg chg="add del mod">
          <ac:chgData name="Roberto Gallardo" userId="49a044883f185952" providerId="LiveId" clId="{F4D957F6-5F28-4DDF-9F2A-0CB3D547903A}" dt="2022-07-09T15:02:45.048" v="8216" actId="478"/>
          <ac:picMkLst>
            <pc:docMk/>
            <pc:sldMk cId="4158874625" sldId="267"/>
            <ac:picMk id="10" creationId="{B756D1CE-7117-61AF-3328-8DE390EED365}"/>
          </ac:picMkLst>
        </pc:picChg>
        <pc:picChg chg="add mod">
          <ac:chgData name="Roberto Gallardo" userId="49a044883f185952" providerId="LiveId" clId="{F4D957F6-5F28-4DDF-9F2A-0CB3D547903A}" dt="2022-07-09T15:05:31.574" v="8234"/>
          <ac:picMkLst>
            <pc:docMk/>
            <pc:sldMk cId="4158874625" sldId="267"/>
            <ac:picMk id="11" creationId="{03B00FBA-506B-D928-E948-13F88F6B8557}"/>
          </ac:picMkLst>
        </pc:picChg>
      </pc:sldChg>
      <pc:sldChg chg="addSp delSp modSp add mod">
        <pc:chgData name="Roberto Gallardo" userId="49a044883f185952" providerId="LiveId" clId="{F4D957F6-5F28-4DDF-9F2A-0CB3D547903A}" dt="2022-07-10T15:59:21.537" v="8244"/>
        <pc:sldMkLst>
          <pc:docMk/>
          <pc:sldMk cId="2670791091" sldId="268"/>
        </pc:sldMkLst>
        <pc:spChg chg="mod">
          <ac:chgData name="Roberto Gallardo" userId="49a044883f185952" providerId="LiveId" clId="{F4D957F6-5F28-4DDF-9F2A-0CB3D547903A}" dt="2022-07-09T11:33:25.558" v="2199" actId="27636"/>
          <ac:spMkLst>
            <pc:docMk/>
            <pc:sldMk cId="2670791091" sldId="268"/>
            <ac:spMk id="2" creationId="{C03B1400-5F72-D252-1DBE-EDCD6E63B07C}"/>
          </ac:spMkLst>
        </pc:spChg>
        <pc:picChg chg="add mod">
          <ac:chgData name="Roberto Gallardo" userId="49a044883f185952" providerId="LiveId" clId="{F4D957F6-5F28-4DDF-9F2A-0CB3D547903A}" dt="2022-07-06T22:37:05.395" v="1695" actId="1038"/>
          <ac:picMkLst>
            <pc:docMk/>
            <pc:sldMk cId="2670791091" sldId="268"/>
            <ac:picMk id="5" creationId="{BC0DDB0A-24DE-355E-1DCE-546916112ABB}"/>
          </ac:picMkLst>
        </pc:picChg>
        <pc:picChg chg="add del mod">
          <ac:chgData name="Roberto Gallardo" userId="49a044883f185952" providerId="LiveId" clId="{F4D957F6-5F28-4DDF-9F2A-0CB3D547903A}" dt="2022-07-09T11:33:17.296" v="2184" actId="478"/>
          <ac:picMkLst>
            <pc:docMk/>
            <pc:sldMk cId="2670791091" sldId="268"/>
            <ac:picMk id="7" creationId="{1EEB24BD-AB72-C87D-897E-5EF2BB4DF3DF}"/>
          </ac:picMkLst>
        </pc:picChg>
        <pc:picChg chg="add del mod">
          <ac:chgData name="Roberto Gallardo" userId="49a044883f185952" providerId="LiveId" clId="{F4D957F6-5F28-4DDF-9F2A-0CB3D547903A}" dt="2022-07-09T15:02:47.496" v="8217" actId="478"/>
          <ac:picMkLst>
            <pc:docMk/>
            <pc:sldMk cId="2670791091" sldId="268"/>
            <ac:picMk id="9" creationId="{07233C83-1BED-5EDF-6C95-96FAB7C256F2}"/>
          </ac:picMkLst>
        </pc:picChg>
        <pc:picChg chg="add mod">
          <ac:chgData name="Roberto Gallardo" userId="49a044883f185952" providerId="LiveId" clId="{F4D957F6-5F28-4DDF-9F2A-0CB3D547903A}" dt="2022-07-10T15:59:21.537" v="8244"/>
          <ac:picMkLst>
            <pc:docMk/>
            <pc:sldMk cId="2670791091" sldId="268"/>
            <ac:picMk id="9" creationId="{61D5CA95-0D5A-0D63-EA87-4CADE4B8D2BE}"/>
          </ac:picMkLst>
        </pc:picChg>
        <pc:picChg chg="del">
          <ac:chgData name="Roberto Gallardo" userId="49a044883f185952" providerId="LiveId" clId="{F4D957F6-5F28-4DDF-9F2A-0CB3D547903A}" dt="2022-07-06T22:36:26.200" v="1641" actId="478"/>
          <ac:picMkLst>
            <pc:docMk/>
            <pc:sldMk cId="2670791091" sldId="268"/>
            <ac:picMk id="9" creationId="{A23C3077-18F4-D986-FD73-9EEB38CBB4EF}"/>
          </ac:picMkLst>
        </pc:picChg>
        <pc:picChg chg="add del mod">
          <ac:chgData name="Roberto Gallardo" userId="49a044883f185952" providerId="LiveId" clId="{F4D957F6-5F28-4DDF-9F2A-0CB3D547903A}" dt="2022-07-10T15:58:44.549" v="8238" actId="478"/>
          <ac:picMkLst>
            <pc:docMk/>
            <pc:sldMk cId="2670791091" sldId="268"/>
            <ac:picMk id="10" creationId="{8DBFB1ED-9EF2-B936-F2C1-0923DE5ADE42}"/>
          </ac:picMkLst>
        </pc:picChg>
      </pc:sldChg>
      <pc:sldChg chg="addSp delSp modSp add mod">
        <pc:chgData name="Roberto Gallardo" userId="49a044883f185952" providerId="LiveId" clId="{F4D957F6-5F28-4DDF-9F2A-0CB3D547903A}" dt="2022-07-09T15:05:58.766" v="8236"/>
        <pc:sldMkLst>
          <pc:docMk/>
          <pc:sldMk cId="3618545072" sldId="269"/>
        </pc:sldMkLst>
        <pc:spChg chg="mod">
          <ac:chgData name="Roberto Gallardo" userId="49a044883f185952" providerId="LiveId" clId="{F4D957F6-5F28-4DDF-9F2A-0CB3D547903A}" dt="2022-07-06T22:39:52.111" v="1712" actId="20577"/>
          <ac:spMkLst>
            <pc:docMk/>
            <pc:sldMk cId="3618545072" sldId="269"/>
            <ac:spMk id="2" creationId="{C03B1400-5F72-D252-1DBE-EDCD6E63B07C}"/>
          </ac:spMkLst>
        </pc:spChg>
        <pc:spChg chg="add mod">
          <ac:chgData name="Roberto Gallardo" userId="49a044883f185952" providerId="LiveId" clId="{F4D957F6-5F28-4DDF-9F2A-0CB3D547903A}" dt="2022-07-06T22:43:50.723" v="1817" actId="255"/>
          <ac:spMkLst>
            <pc:docMk/>
            <pc:sldMk cId="3618545072" sldId="269"/>
            <ac:spMk id="7" creationId="{90F8BE7A-1D3B-3284-C5D0-89541B85FCF6}"/>
          </ac:spMkLst>
        </pc:spChg>
        <pc:picChg chg="del">
          <ac:chgData name="Roberto Gallardo" userId="49a044883f185952" providerId="LiveId" clId="{F4D957F6-5F28-4DDF-9F2A-0CB3D547903A}" dt="2022-07-06T22:41:01.307" v="1713" actId="478"/>
          <ac:picMkLst>
            <pc:docMk/>
            <pc:sldMk cId="3618545072" sldId="269"/>
            <ac:picMk id="5" creationId="{BC0DDB0A-24DE-355E-1DCE-546916112ABB}"/>
          </ac:picMkLst>
        </pc:picChg>
        <pc:picChg chg="add del mod">
          <ac:chgData name="Roberto Gallardo" userId="49a044883f185952" providerId="LiveId" clId="{F4D957F6-5F28-4DDF-9F2A-0CB3D547903A}" dt="2022-07-06T22:50:14.166" v="1849" actId="478"/>
          <ac:picMkLst>
            <pc:docMk/>
            <pc:sldMk cId="3618545072" sldId="269"/>
            <ac:picMk id="6" creationId="{19E1FB01-01BD-01CB-9397-3DF9619103BD}"/>
          </ac:picMkLst>
        </pc:picChg>
        <pc:picChg chg="add del mod">
          <ac:chgData name="Roberto Gallardo" userId="49a044883f185952" providerId="LiveId" clId="{F4D957F6-5F28-4DDF-9F2A-0CB3D547903A}" dt="2022-07-09T15:02:49.384" v="8218" actId="478"/>
          <ac:picMkLst>
            <pc:docMk/>
            <pc:sldMk cId="3618545072" sldId="269"/>
            <ac:picMk id="9" creationId="{3DCFCCBB-98F1-2623-0E8C-24A8DE45859F}"/>
          </ac:picMkLst>
        </pc:picChg>
        <pc:picChg chg="add mod">
          <ac:chgData name="Roberto Gallardo" userId="49a044883f185952" providerId="LiveId" clId="{F4D957F6-5F28-4DDF-9F2A-0CB3D547903A}" dt="2022-07-06T23:33:14.008" v="1964" actId="1036"/>
          <ac:picMkLst>
            <pc:docMk/>
            <pc:sldMk cId="3618545072" sldId="269"/>
            <ac:picMk id="10" creationId="{B0321917-D748-5181-7D6B-5048E85DA5E6}"/>
          </ac:picMkLst>
        </pc:picChg>
        <pc:picChg chg="add mod">
          <ac:chgData name="Roberto Gallardo" userId="49a044883f185952" providerId="LiveId" clId="{F4D957F6-5F28-4DDF-9F2A-0CB3D547903A}" dt="2022-07-09T15:05:58.766" v="8236"/>
          <ac:picMkLst>
            <pc:docMk/>
            <pc:sldMk cId="3618545072" sldId="269"/>
            <ac:picMk id="11" creationId="{A04580FC-CD08-15E2-4583-B2AA9F29633E}"/>
          </ac:picMkLst>
        </pc:picChg>
      </pc:sldChg>
      <pc:sldChg chg="addSp delSp modSp add mod">
        <pc:chgData name="Roberto Gallardo" userId="49a044883f185952" providerId="LiveId" clId="{F4D957F6-5F28-4DDF-9F2A-0CB3D547903A}" dt="2022-07-09T15:06:09.087" v="8237"/>
        <pc:sldMkLst>
          <pc:docMk/>
          <pc:sldMk cId="436430764" sldId="270"/>
        </pc:sldMkLst>
        <pc:spChg chg="mod">
          <ac:chgData name="Roberto Gallardo" userId="49a044883f185952" providerId="LiveId" clId="{F4D957F6-5F28-4DDF-9F2A-0CB3D547903A}" dt="2022-07-06T22:44:04.827" v="1830" actId="20577"/>
          <ac:spMkLst>
            <pc:docMk/>
            <pc:sldMk cId="436430764" sldId="270"/>
            <ac:spMk id="2" creationId="{C03B1400-5F72-D252-1DBE-EDCD6E63B07C}"/>
          </ac:spMkLst>
        </pc:spChg>
        <pc:spChg chg="mod">
          <ac:chgData name="Roberto Gallardo" userId="49a044883f185952" providerId="LiveId" clId="{F4D957F6-5F28-4DDF-9F2A-0CB3D547903A}" dt="2022-07-06T22:44:15.492" v="1842" actId="20577"/>
          <ac:spMkLst>
            <pc:docMk/>
            <pc:sldMk cId="436430764" sldId="270"/>
            <ac:spMk id="7" creationId="{90F8BE7A-1D3B-3284-C5D0-89541B85FCF6}"/>
          </ac:spMkLst>
        </pc:spChg>
        <pc:picChg chg="add del mod">
          <ac:chgData name="Roberto Gallardo" userId="49a044883f185952" providerId="LiveId" clId="{F4D957F6-5F28-4DDF-9F2A-0CB3D547903A}" dt="2022-07-06T23:55:55.335" v="2024" actId="478"/>
          <ac:picMkLst>
            <pc:docMk/>
            <pc:sldMk cId="436430764" sldId="270"/>
            <ac:picMk id="5" creationId="{C2091799-55B1-72F5-6048-6801B5F101E5}"/>
          </ac:picMkLst>
        </pc:picChg>
        <pc:picChg chg="del">
          <ac:chgData name="Roberto Gallardo" userId="49a044883f185952" providerId="LiveId" clId="{F4D957F6-5F28-4DDF-9F2A-0CB3D547903A}" dt="2022-07-06T22:44:22.634" v="1843" actId="478"/>
          <ac:picMkLst>
            <pc:docMk/>
            <pc:sldMk cId="436430764" sldId="270"/>
            <ac:picMk id="6" creationId="{19E1FB01-01BD-01CB-9397-3DF9619103BD}"/>
          </ac:picMkLst>
        </pc:picChg>
        <pc:picChg chg="add del mod">
          <ac:chgData name="Roberto Gallardo" userId="49a044883f185952" providerId="LiveId" clId="{F4D957F6-5F28-4DDF-9F2A-0CB3D547903A}" dt="2022-07-09T15:02:52.152" v="8219" actId="478"/>
          <ac:picMkLst>
            <pc:docMk/>
            <pc:sldMk cId="436430764" sldId="270"/>
            <ac:picMk id="9" creationId="{E5EEAF85-C66B-9406-0260-8AC818F73591}"/>
          </ac:picMkLst>
        </pc:picChg>
        <pc:picChg chg="add mod">
          <ac:chgData name="Roberto Gallardo" userId="49a044883f185952" providerId="LiveId" clId="{F4D957F6-5F28-4DDF-9F2A-0CB3D547903A}" dt="2022-07-07T00:19:27.359" v="2093" actId="1037"/>
          <ac:picMkLst>
            <pc:docMk/>
            <pc:sldMk cId="436430764" sldId="270"/>
            <ac:picMk id="10" creationId="{9B537C89-2489-C6B2-0DC8-074120B38C6B}"/>
          </ac:picMkLst>
        </pc:picChg>
        <pc:picChg chg="add mod">
          <ac:chgData name="Roberto Gallardo" userId="49a044883f185952" providerId="LiveId" clId="{F4D957F6-5F28-4DDF-9F2A-0CB3D547903A}" dt="2022-07-09T15:06:09.087" v="8237"/>
          <ac:picMkLst>
            <pc:docMk/>
            <pc:sldMk cId="436430764" sldId="270"/>
            <ac:picMk id="11" creationId="{20C03915-DA9C-757A-A650-980DD2CA00CD}"/>
          </ac:picMkLst>
        </pc:picChg>
      </pc:sldChg>
      <pc:sldChg chg="addSp delSp modSp add mod ord">
        <pc:chgData name="Roberto Gallardo" userId="49a044883f185952" providerId="LiveId" clId="{F4D957F6-5F28-4DDF-9F2A-0CB3D547903A}" dt="2022-07-09T14:59:15.472" v="8198"/>
        <pc:sldMkLst>
          <pc:docMk/>
          <pc:sldMk cId="1418533539" sldId="271"/>
        </pc:sldMkLst>
        <pc:spChg chg="mod">
          <ac:chgData name="Roberto Gallardo" userId="49a044883f185952" providerId="LiveId" clId="{F4D957F6-5F28-4DDF-9F2A-0CB3D547903A}" dt="2022-07-06T23:27:54.905" v="1859" actId="6549"/>
          <ac:spMkLst>
            <pc:docMk/>
            <pc:sldMk cId="1418533539" sldId="271"/>
            <ac:spMk id="2" creationId="{C03B1400-5F72-D252-1DBE-EDCD6E63B07C}"/>
          </ac:spMkLst>
        </pc:spChg>
        <pc:graphicFrameChg chg="mod">
          <ac:chgData name="Roberto Gallardo" userId="49a044883f185952" providerId="LiveId" clId="{F4D957F6-5F28-4DDF-9F2A-0CB3D547903A}" dt="2022-07-06T23:29:50.541" v="1913"/>
          <ac:graphicFrameMkLst>
            <pc:docMk/>
            <pc:sldMk cId="1418533539" sldId="271"/>
            <ac:graphicFrameMk id="12" creationId="{DABF0741-AD27-F6EC-F006-1930AC38E762}"/>
          </ac:graphicFrameMkLst>
        </pc:graphicFrameChg>
        <pc:picChg chg="add del mod">
          <ac:chgData name="Roberto Gallardo" userId="49a044883f185952" providerId="LiveId" clId="{F4D957F6-5F28-4DDF-9F2A-0CB3D547903A}" dt="2022-07-09T14:54:49.281" v="8169" actId="478"/>
          <ac:picMkLst>
            <pc:docMk/>
            <pc:sldMk cId="1418533539" sldId="271"/>
            <ac:picMk id="5" creationId="{58F25383-2ECB-5747-C30C-7CF7813F6475}"/>
          </ac:picMkLst>
        </pc:picChg>
        <pc:picChg chg="add del mod">
          <ac:chgData name="Roberto Gallardo" userId="49a044883f185952" providerId="LiveId" clId="{F4D957F6-5F28-4DDF-9F2A-0CB3D547903A}" dt="2022-07-09T14:57:24.144" v="8184" actId="478"/>
          <ac:picMkLst>
            <pc:docMk/>
            <pc:sldMk cId="1418533539" sldId="271"/>
            <ac:picMk id="6" creationId="{33D61055-25CC-642A-DB2B-056946C49651}"/>
          </ac:picMkLst>
        </pc:picChg>
        <pc:picChg chg="add del mod">
          <ac:chgData name="Roberto Gallardo" userId="49a044883f185952" providerId="LiveId" clId="{F4D957F6-5F28-4DDF-9F2A-0CB3D547903A}" dt="2022-07-09T14:54:46.865" v="8168" actId="478"/>
          <ac:picMkLst>
            <pc:docMk/>
            <pc:sldMk cId="1418533539" sldId="271"/>
            <ac:picMk id="7" creationId="{C1FBE600-A15B-D21D-560D-095518C56D8F}"/>
          </ac:picMkLst>
        </pc:picChg>
        <pc:picChg chg="add del mod">
          <ac:chgData name="Roberto Gallardo" userId="49a044883f185952" providerId="LiveId" clId="{F4D957F6-5F28-4DDF-9F2A-0CB3D547903A}" dt="2022-07-09T14:57:19.553" v="8183" actId="478"/>
          <ac:picMkLst>
            <pc:docMk/>
            <pc:sldMk cId="1418533539" sldId="271"/>
            <ac:picMk id="10" creationId="{15B1EE70-CA0B-E118-85DC-86F017381911}"/>
          </ac:picMkLst>
        </pc:picChg>
        <pc:picChg chg="add mod">
          <ac:chgData name="Roberto Gallardo" userId="49a044883f185952" providerId="LiveId" clId="{F4D957F6-5F28-4DDF-9F2A-0CB3D547903A}" dt="2022-07-09T14:59:06.232" v="8197" actId="1037"/>
          <ac:picMkLst>
            <pc:docMk/>
            <pc:sldMk cId="1418533539" sldId="271"/>
            <ac:picMk id="11" creationId="{AEFDEB6D-F3A3-1572-E046-90ABC9E2817B}"/>
          </ac:picMkLst>
        </pc:picChg>
        <pc:picChg chg="add mod">
          <ac:chgData name="Roberto Gallardo" userId="49a044883f185952" providerId="LiveId" clId="{F4D957F6-5F28-4DDF-9F2A-0CB3D547903A}" dt="2022-07-09T14:59:15.472" v="8198"/>
          <ac:picMkLst>
            <pc:docMk/>
            <pc:sldMk cId="1418533539" sldId="271"/>
            <ac:picMk id="13" creationId="{4F7357C3-AA47-A578-E18E-C38D0920BC2B}"/>
          </ac:picMkLst>
        </pc:picChg>
        <pc:picChg chg="del">
          <ac:chgData name="Roberto Gallardo" userId="49a044883f185952" providerId="LiveId" clId="{F4D957F6-5F28-4DDF-9F2A-0CB3D547903A}" dt="2022-07-06T23:27:58.648" v="1860" actId="478"/>
          <ac:picMkLst>
            <pc:docMk/>
            <pc:sldMk cId="1418533539" sldId="271"/>
            <ac:picMk id="16" creationId="{532B7758-F2FB-D91F-D115-90D2274360A1}"/>
          </ac:picMkLst>
        </pc:picChg>
      </pc:sldChg>
      <pc:sldChg chg="addSp delSp modSp add mod ord">
        <pc:chgData name="Roberto Gallardo" userId="49a044883f185952" providerId="LiveId" clId="{F4D957F6-5F28-4DDF-9F2A-0CB3D547903A}" dt="2022-07-09T14:14:07.031" v="8167"/>
        <pc:sldMkLst>
          <pc:docMk/>
          <pc:sldMk cId="2653937722" sldId="272"/>
        </pc:sldMkLst>
        <pc:spChg chg="mod">
          <ac:chgData name="Roberto Gallardo" userId="49a044883f185952" providerId="LiveId" clId="{F4D957F6-5F28-4DDF-9F2A-0CB3D547903A}" dt="2022-07-09T11:36:32.688" v="2270" actId="20577"/>
          <ac:spMkLst>
            <pc:docMk/>
            <pc:sldMk cId="2653937722" sldId="272"/>
            <ac:spMk id="2" creationId="{C03B1400-5F72-D252-1DBE-EDCD6E63B07C}"/>
          </ac:spMkLst>
        </pc:spChg>
        <pc:graphicFrameChg chg="mod">
          <ac:chgData name="Roberto Gallardo" userId="49a044883f185952" providerId="LiveId" clId="{F4D957F6-5F28-4DDF-9F2A-0CB3D547903A}" dt="2022-07-09T11:39:25.708" v="2293" actId="20577"/>
          <ac:graphicFrameMkLst>
            <pc:docMk/>
            <pc:sldMk cId="2653937722" sldId="272"/>
            <ac:graphicFrameMk id="10" creationId="{FD2FC231-ACEF-5FF2-C4CE-DFF89EB85588}"/>
          </ac:graphicFrameMkLst>
        </pc:graphicFrameChg>
        <pc:picChg chg="del">
          <ac:chgData name="Roberto Gallardo" userId="49a044883f185952" providerId="LiveId" clId="{F4D957F6-5F28-4DDF-9F2A-0CB3D547903A}" dt="2022-07-09T11:36:10.261" v="2203" actId="478"/>
          <ac:picMkLst>
            <pc:docMk/>
            <pc:sldMk cId="2653937722" sldId="272"/>
            <ac:picMk id="6" creationId="{F6A5490A-A5E9-61BB-9097-88457932C0C3}"/>
          </ac:picMkLst>
        </pc:picChg>
        <pc:picChg chg="add mod">
          <ac:chgData name="Roberto Gallardo" userId="49a044883f185952" providerId="LiveId" clId="{F4D957F6-5F28-4DDF-9F2A-0CB3D547903A}" dt="2022-07-09T11:39:43.513" v="2294"/>
          <ac:picMkLst>
            <pc:docMk/>
            <pc:sldMk cId="2653937722" sldId="272"/>
            <ac:picMk id="7" creationId="{47B0A1AD-C83F-A2F8-D8C7-ED6D53AA4B2F}"/>
          </ac:picMkLst>
        </pc:picChg>
      </pc:sldChg>
      <pc:sldChg chg="addSp delSp modSp add mod ord">
        <pc:chgData name="Roberto Gallardo" userId="49a044883f185952" providerId="LiveId" clId="{F4D957F6-5F28-4DDF-9F2A-0CB3D547903A}" dt="2022-07-09T11:51:05.243" v="2440"/>
        <pc:sldMkLst>
          <pc:docMk/>
          <pc:sldMk cId="2076698419" sldId="273"/>
        </pc:sldMkLst>
        <pc:spChg chg="mod">
          <ac:chgData name="Roberto Gallardo" userId="49a044883f185952" providerId="LiveId" clId="{F4D957F6-5F28-4DDF-9F2A-0CB3D547903A}" dt="2022-07-09T11:44:35.684" v="2312" actId="20577"/>
          <ac:spMkLst>
            <pc:docMk/>
            <pc:sldMk cId="2076698419" sldId="273"/>
            <ac:spMk id="2" creationId="{C03B1400-5F72-D252-1DBE-EDCD6E63B07C}"/>
          </ac:spMkLst>
        </pc:spChg>
        <pc:graphicFrameChg chg="mod">
          <ac:chgData name="Roberto Gallardo" userId="49a044883f185952" providerId="LiveId" clId="{F4D957F6-5F28-4DDF-9F2A-0CB3D547903A}" dt="2022-07-09T11:45:57.924" v="2335" actId="20577"/>
          <ac:graphicFrameMkLst>
            <pc:docMk/>
            <pc:sldMk cId="2076698419" sldId="273"/>
            <ac:graphicFrameMk id="10" creationId="{FD2FC231-ACEF-5FF2-C4CE-DFF89EB85588}"/>
          </ac:graphicFrameMkLst>
        </pc:graphicFrameChg>
        <pc:picChg chg="del">
          <ac:chgData name="Roberto Gallardo" userId="49a044883f185952" providerId="LiveId" clId="{F4D957F6-5F28-4DDF-9F2A-0CB3D547903A}" dt="2022-07-09T11:44:14.059" v="2298" actId="478"/>
          <ac:picMkLst>
            <pc:docMk/>
            <pc:sldMk cId="2076698419" sldId="273"/>
            <ac:picMk id="7" creationId="{47B0A1AD-C83F-A2F8-D8C7-ED6D53AA4B2F}"/>
          </ac:picMkLst>
        </pc:picChg>
        <pc:picChg chg="add mod">
          <ac:chgData name="Roberto Gallardo" userId="49a044883f185952" providerId="LiveId" clId="{F4D957F6-5F28-4DDF-9F2A-0CB3D547903A}" dt="2022-07-09T11:51:05.243" v="2440"/>
          <ac:picMkLst>
            <pc:docMk/>
            <pc:sldMk cId="2076698419" sldId="273"/>
            <ac:picMk id="9" creationId="{FFA57C8B-4C3E-6D4F-82A8-EE27683795FD}"/>
          </ac:picMkLst>
        </pc:picChg>
      </pc:sldChg>
      <pc:sldChg chg="addSp modSp add del mod">
        <pc:chgData name="Roberto Gallardo" userId="49a044883f185952" providerId="LiveId" clId="{F4D957F6-5F28-4DDF-9F2A-0CB3D547903A}" dt="2022-07-09T11:51:01.343" v="2439" actId="47"/>
        <pc:sldMkLst>
          <pc:docMk/>
          <pc:sldMk cId="3196042900" sldId="274"/>
        </pc:sldMkLst>
        <pc:spChg chg="mod">
          <ac:chgData name="Roberto Gallardo" userId="49a044883f185952" providerId="LiveId" clId="{F4D957F6-5F28-4DDF-9F2A-0CB3D547903A}" dt="2022-07-09T11:47:54.484" v="2374" actId="20577"/>
          <ac:spMkLst>
            <pc:docMk/>
            <pc:sldMk cId="3196042900" sldId="274"/>
            <ac:spMk id="2" creationId="{C03B1400-5F72-D252-1DBE-EDCD6E63B07C}"/>
          </ac:spMkLst>
        </pc:spChg>
        <pc:spChg chg="add mod">
          <ac:chgData name="Roberto Gallardo" userId="49a044883f185952" providerId="LiveId" clId="{F4D957F6-5F28-4DDF-9F2A-0CB3D547903A}" dt="2022-07-09T11:49:18.050" v="2424" actId="2711"/>
          <ac:spMkLst>
            <pc:docMk/>
            <pc:sldMk cId="3196042900" sldId="274"/>
            <ac:spMk id="6" creationId="{522A571D-CAF9-2AE6-B5F4-317988087B5C}"/>
          </ac:spMkLst>
        </pc:spChg>
        <pc:spChg chg="mod">
          <ac:chgData name="Roberto Gallardo" userId="49a044883f185952" providerId="LiveId" clId="{F4D957F6-5F28-4DDF-9F2A-0CB3D547903A}" dt="2022-07-09T11:49:06.804" v="2423" actId="14100"/>
          <ac:spMkLst>
            <pc:docMk/>
            <pc:sldMk cId="3196042900" sldId="274"/>
            <ac:spMk id="8" creationId="{40AF43CC-DD34-B66D-2100-C70E6AB3ED53}"/>
          </ac:spMkLst>
        </pc:spChg>
        <pc:graphicFrameChg chg="mod">
          <ac:chgData name="Roberto Gallardo" userId="49a044883f185952" providerId="LiveId" clId="{F4D957F6-5F28-4DDF-9F2A-0CB3D547903A}" dt="2022-07-09T11:46:26.929" v="2366" actId="20577"/>
          <ac:graphicFrameMkLst>
            <pc:docMk/>
            <pc:sldMk cId="3196042900" sldId="274"/>
            <ac:graphicFrameMk id="10" creationId="{FD2FC231-ACEF-5FF2-C4CE-DFF89EB85588}"/>
          </ac:graphicFrameMkLst>
        </pc:graphicFrameChg>
      </pc:sldChg>
      <pc:sldChg chg="addSp delSp modSp add mod">
        <pc:chgData name="Roberto Gallardo" userId="49a044883f185952" providerId="LiveId" clId="{F4D957F6-5F28-4DDF-9F2A-0CB3D547903A}" dt="2022-07-09T11:53:37.363" v="2578"/>
        <pc:sldMkLst>
          <pc:docMk/>
          <pc:sldMk cId="3802335161" sldId="274"/>
        </pc:sldMkLst>
        <pc:spChg chg="mod">
          <ac:chgData name="Roberto Gallardo" userId="49a044883f185952" providerId="LiveId" clId="{F4D957F6-5F28-4DDF-9F2A-0CB3D547903A}" dt="2022-07-09T11:51:21.584" v="2473" actId="20577"/>
          <ac:spMkLst>
            <pc:docMk/>
            <pc:sldMk cId="3802335161" sldId="274"/>
            <ac:spMk id="2" creationId="{C03B1400-5F72-D252-1DBE-EDCD6E63B07C}"/>
          </ac:spMkLst>
        </pc:spChg>
        <pc:spChg chg="add mod">
          <ac:chgData name="Roberto Gallardo" userId="49a044883f185952" providerId="LiveId" clId="{F4D957F6-5F28-4DDF-9F2A-0CB3D547903A}" dt="2022-07-09T11:52:17.918" v="2554" actId="1076"/>
          <ac:spMkLst>
            <pc:docMk/>
            <pc:sldMk cId="3802335161" sldId="274"/>
            <ac:spMk id="7" creationId="{06088BFF-E008-7036-06DC-C79AACE6A6EF}"/>
          </ac:spMkLst>
        </pc:spChg>
        <pc:spChg chg="mod">
          <ac:chgData name="Roberto Gallardo" userId="49a044883f185952" providerId="LiveId" clId="{F4D957F6-5F28-4DDF-9F2A-0CB3D547903A}" dt="2022-07-09T11:52:39.635" v="2570" actId="1076"/>
          <ac:spMkLst>
            <pc:docMk/>
            <pc:sldMk cId="3802335161" sldId="274"/>
            <ac:spMk id="8" creationId="{40AF43CC-DD34-B66D-2100-C70E6AB3ED53}"/>
          </ac:spMkLst>
        </pc:spChg>
        <pc:graphicFrameChg chg="mod">
          <ac:chgData name="Roberto Gallardo" userId="49a044883f185952" providerId="LiveId" clId="{F4D957F6-5F28-4DDF-9F2A-0CB3D547903A}" dt="2022-07-09T11:51:27.441" v="2477" actId="20577"/>
          <ac:graphicFrameMkLst>
            <pc:docMk/>
            <pc:sldMk cId="3802335161" sldId="274"/>
            <ac:graphicFrameMk id="10" creationId="{FD2FC231-ACEF-5FF2-C4CE-DFF89EB85588}"/>
          </ac:graphicFrameMkLst>
        </pc:graphicFrameChg>
        <pc:picChg chg="del">
          <ac:chgData name="Roberto Gallardo" userId="49a044883f185952" providerId="LiveId" clId="{F4D957F6-5F28-4DDF-9F2A-0CB3D547903A}" dt="2022-07-09T11:51:12.990" v="2442" actId="478"/>
          <ac:picMkLst>
            <pc:docMk/>
            <pc:sldMk cId="3802335161" sldId="274"/>
            <ac:picMk id="9" creationId="{FFA57C8B-4C3E-6D4F-82A8-EE27683795FD}"/>
          </ac:picMkLst>
        </pc:picChg>
        <pc:picChg chg="add mod">
          <ac:chgData name="Roberto Gallardo" userId="49a044883f185952" providerId="LiveId" clId="{F4D957F6-5F28-4DDF-9F2A-0CB3D547903A}" dt="2022-07-09T11:53:37.363" v="2578"/>
          <ac:picMkLst>
            <pc:docMk/>
            <pc:sldMk cId="3802335161" sldId="274"/>
            <ac:picMk id="11" creationId="{20764531-2D44-8514-A242-BA2A93780D69}"/>
          </ac:picMkLst>
        </pc:picChg>
      </pc:sldChg>
      <pc:sldChg chg="addSp delSp modSp add mod ord">
        <pc:chgData name="Roberto Gallardo" userId="49a044883f185952" providerId="LiveId" clId="{F4D957F6-5F28-4DDF-9F2A-0CB3D547903A}" dt="2022-07-09T12:37:45.707" v="7878"/>
        <pc:sldMkLst>
          <pc:docMk/>
          <pc:sldMk cId="4292554322" sldId="275"/>
        </pc:sldMkLst>
        <pc:spChg chg="mod">
          <ac:chgData name="Roberto Gallardo" userId="49a044883f185952" providerId="LiveId" clId="{F4D957F6-5F28-4DDF-9F2A-0CB3D547903A}" dt="2022-07-09T11:59:53.687" v="2752" actId="20577"/>
          <ac:spMkLst>
            <pc:docMk/>
            <pc:sldMk cId="4292554322" sldId="275"/>
            <ac:spMk id="2" creationId="{C03B1400-5F72-D252-1DBE-EDCD6E63B07C}"/>
          </ac:spMkLst>
        </pc:spChg>
        <pc:spChg chg="mod">
          <ac:chgData name="Roberto Gallardo" userId="49a044883f185952" providerId="LiveId" clId="{F4D957F6-5F28-4DDF-9F2A-0CB3D547903A}" dt="2022-07-09T11:56:56.440" v="2705" actId="20577"/>
          <ac:spMkLst>
            <pc:docMk/>
            <pc:sldMk cId="4292554322" sldId="275"/>
            <ac:spMk id="8" creationId="{40AF43CC-DD34-B66D-2100-C70E6AB3ED53}"/>
          </ac:spMkLst>
        </pc:spChg>
        <pc:graphicFrameChg chg="mod">
          <ac:chgData name="Roberto Gallardo" userId="49a044883f185952" providerId="LiveId" clId="{F4D957F6-5F28-4DDF-9F2A-0CB3D547903A}" dt="2022-07-09T11:59:40.308" v="2751" actId="207"/>
          <ac:graphicFrameMkLst>
            <pc:docMk/>
            <pc:sldMk cId="4292554322" sldId="275"/>
            <ac:graphicFrameMk id="10" creationId="{FD2FC231-ACEF-5FF2-C4CE-DFF89EB85588}"/>
          </ac:graphicFrameMkLst>
        </pc:graphicFrameChg>
        <pc:picChg chg="add mod">
          <ac:chgData name="Roberto Gallardo" userId="49a044883f185952" providerId="LiveId" clId="{F4D957F6-5F28-4DDF-9F2A-0CB3D547903A}" dt="2022-07-09T12:37:45.707" v="7878"/>
          <ac:picMkLst>
            <pc:docMk/>
            <pc:sldMk cId="4292554322" sldId="275"/>
            <ac:picMk id="7" creationId="{D63D57C2-CBCB-D955-3A69-AFA7B03E637F}"/>
          </ac:picMkLst>
        </pc:picChg>
        <pc:picChg chg="del">
          <ac:chgData name="Roberto Gallardo" userId="49a044883f185952" providerId="LiveId" clId="{F4D957F6-5F28-4DDF-9F2A-0CB3D547903A}" dt="2022-07-09T11:55:51.307" v="2616" actId="478"/>
          <ac:picMkLst>
            <pc:docMk/>
            <pc:sldMk cId="4292554322" sldId="275"/>
            <ac:picMk id="9" creationId="{FFA57C8B-4C3E-6D4F-82A8-EE27683795FD}"/>
          </ac:picMkLst>
        </pc:picChg>
      </pc:sldChg>
      <pc:sldChg chg="addSp delSp modSp add mod ord">
        <pc:chgData name="Roberto Gallardo" userId="49a044883f185952" providerId="LiveId" clId="{F4D957F6-5F28-4DDF-9F2A-0CB3D547903A}" dt="2022-07-09T12:32:45.847" v="7137"/>
        <pc:sldMkLst>
          <pc:docMk/>
          <pc:sldMk cId="513409896" sldId="276"/>
        </pc:sldMkLst>
        <pc:spChg chg="mod">
          <ac:chgData name="Roberto Gallardo" userId="49a044883f185952" providerId="LiveId" clId="{F4D957F6-5F28-4DDF-9F2A-0CB3D547903A}" dt="2022-07-09T12:06:25.346" v="3010" actId="20577"/>
          <ac:spMkLst>
            <pc:docMk/>
            <pc:sldMk cId="513409896" sldId="276"/>
            <ac:spMk id="2" creationId="{C03B1400-5F72-D252-1DBE-EDCD6E63B07C}"/>
          </ac:spMkLst>
        </pc:spChg>
        <pc:spChg chg="del">
          <ac:chgData name="Roberto Gallardo" userId="49a044883f185952" providerId="LiveId" clId="{F4D957F6-5F28-4DDF-9F2A-0CB3D547903A}" dt="2022-07-09T12:06:09.640" v="3006" actId="478"/>
          <ac:spMkLst>
            <pc:docMk/>
            <pc:sldMk cId="513409896" sldId="276"/>
            <ac:spMk id="7" creationId="{06088BFF-E008-7036-06DC-C79AACE6A6EF}"/>
          </ac:spMkLst>
        </pc:spChg>
        <pc:spChg chg="mod">
          <ac:chgData name="Roberto Gallardo" userId="49a044883f185952" providerId="LiveId" clId="{F4D957F6-5F28-4DDF-9F2A-0CB3D547903A}" dt="2022-07-09T12:07:13.926" v="3022" actId="1076"/>
          <ac:spMkLst>
            <pc:docMk/>
            <pc:sldMk cId="513409896" sldId="276"/>
            <ac:spMk id="8" creationId="{40AF43CC-DD34-B66D-2100-C70E6AB3ED53}"/>
          </ac:spMkLst>
        </pc:spChg>
        <pc:spChg chg="add mod">
          <ac:chgData name="Roberto Gallardo" userId="49a044883f185952" providerId="LiveId" clId="{F4D957F6-5F28-4DDF-9F2A-0CB3D547903A}" dt="2022-07-09T12:04:10.337" v="2913" actId="2711"/>
          <ac:spMkLst>
            <pc:docMk/>
            <pc:sldMk cId="513409896" sldId="276"/>
            <ac:spMk id="9" creationId="{EB4CC4F6-2F6B-8AF9-8151-CB2C0FF4BAC4}"/>
          </ac:spMkLst>
        </pc:spChg>
        <pc:spChg chg="add mod">
          <ac:chgData name="Roberto Gallardo" userId="49a044883f185952" providerId="LiveId" clId="{F4D957F6-5F28-4DDF-9F2A-0CB3D547903A}" dt="2022-07-09T12:04:38.578" v="2919" actId="20577"/>
          <ac:spMkLst>
            <pc:docMk/>
            <pc:sldMk cId="513409896" sldId="276"/>
            <ac:spMk id="16" creationId="{420A225E-A640-906C-A470-552759842A43}"/>
          </ac:spMkLst>
        </pc:spChg>
        <pc:spChg chg="add mod">
          <ac:chgData name="Roberto Gallardo" userId="49a044883f185952" providerId="LiveId" clId="{F4D957F6-5F28-4DDF-9F2A-0CB3D547903A}" dt="2022-07-09T12:05:55.314" v="3004" actId="1036"/>
          <ac:spMkLst>
            <pc:docMk/>
            <pc:sldMk cId="513409896" sldId="276"/>
            <ac:spMk id="21" creationId="{9A68ADBE-AECC-EE60-7E94-3675B33E08AE}"/>
          </ac:spMkLst>
        </pc:spChg>
        <pc:spChg chg="add mod">
          <ac:chgData name="Roberto Gallardo" userId="49a044883f185952" providerId="LiveId" clId="{F4D957F6-5F28-4DDF-9F2A-0CB3D547903A}" dt="2022-07-09T12:06:41.497" v="3011" actId="1076"/>
          <ac:spMkLst>
            <pc:docMk/>
            <pc:sldMk cId="513409896" sldId="276"/>
            <ac:spMk id="26" creationId="{CCDA5E37-63CE-CEAA-0EAC-3BD8E75B5BA0}"/>
          </ac:spMkLst>
        </pc:spChg>
        <pc:graphicFrameChg chg="mod">
          <ac:chgData name="Roberto Gallardo" userId="49a044883f185952" providerId="LiveId" clId="{F4D957F6-5F28-4DDF-9F2A-0CB3D547903A}" dt="2022-07-09T12:00:25.926" v="2807" actId="20577"/>
          <ac:graphicFrameMkLst>
            <pc:docMk/>
            <pc:sldMk cId="513409896" sldId="276"/>
            <ac:graphicFrameMk id="10" creationId="{FD2FC231-ACEF-5FF2-C4CE-DFF89EB85588}"/>
          </ac:graphicFrameMkLst>
        </pc:graphicFrameChg>
        <pc:picChg chg="del">
          <ac:chgData name="Roberto Gallardo" userId="49a044883f185952" providerId="LiveId" clId="{F4D957F6-5F28-4DDF-9F2A-0CB3D547903A}" dt="2022-07-09T12:00:11.234" v="2756" actId="478"/>
          <ac:picMkLst>
            <pc:docMk/>
            <pc:sldMk cId="513409896" sldId="276"/>
            <ac:picMk id="11" creationId="{20764531-2D44-8514-A242-BA2A93780D69}"/>
          </ac:picMkLst>
        </pc:picChg>
        <pc:picChg chg="add mod">
          <ac:chgData name="Roberto Gallardo" userId="49a044883f185952" providerId="LiveId" clId="{F4D957F6-5F28-4DDF-9F2A-0CB3D547903A}" dt="2022-07-09T12:32:45.847" v="7137"/>
          <ac:picMkLst>
            <pc:docMk/>
            <pc:sldMk cId="513409896" sldId="276"/>
            <ac:picMk id="28" creationId="{7ABD12D9-88D7-6FDA-AEAC-080C6614109E}"/>
          </ac:picMkLst>
        </pc:picChg>
        <pc:cxnChg chg="add mod">
          <ac:chgData name="Roberto Gallardo" userId="49a044883f185952" providerId="LiveId" clId="{F4D957F6-5F28-4DDF-9F2A-0CB3D547903A}" dt="2022-07-09T12:03:01.205" v="2819" actId="1076"/>
          <ac:cxnSpMkLst>
            <pc:docMk/>
            <pc:sldMk cId="513409896" sldId="276"/>
            <ac:cxnSpMk id="12" creationId="{CFFB1630-BD90-A400-670C-BA42A969CC53}"/>
          </ac:cxnSpMkLst>
        </pc:cxnChg>
        <pc:cxnChg chg="add mod">
          <ac:chgData name="Roberto Gallardo" userId="49a044883f185952" providerId="LiveId" clId="{F4D957F6-5F28-4DDF-9F2A-0CB3D547903A}" dt="2022-07-09T12:03:01.205" v="2819" actId="1076"/>
          <ac:cxnSpMkLst>
            <pc:docMk/>
            <pc:sldMk cId="513409896" sldId="276"/>
            <ac:cxnSpMk id="13" creationId="{1D0B6E64-E4A0-FEB0-ABC4-B26C8EF7542E}"/>
          </ac:cxnSpMkLst>
        </pc:cxnChg>
        <pc:cxnChg chg="add mod">
          <ac:chgData name="Roberto Gallardo" userId="49a044883f185952" providerId="LiveId" clId="{F4D957F6-5F28-4DDF-9F2A-0CB3D547903A}" dt="2022-07-09T12:03:01.205" v="2819" actId="1076"/>
          <ac:cxnSpMkLst>
            <pc:docMk/>
            <pc:sldMk cId="513409896" sldId="276"/>
            <ac:cxnSpMk id="14" creationId="{15AB37BA-8065-3082-3040-FB8974BC0126}"/>
          </ac:cxnSpMkLst>
        </pc:cxnChg>
        <pc:cxnChg chg="add mod">
          <ac:chgData name="Roberto Gallardo" userId="49a044883f185952" providerId="LiveId" clId="{F4D957F6-5F28-4DDF-9F2A-0CB3D547903A}" dt="2022-07-09T12:03:01.205" v="2819" actId="1076"/>
          <ac:cxnSpMkLst>
            <pc:docMk/>
            <pc:sldMk cId="513409896" sldId="276"/>
            <ac:cxnSpMk id="15" creationId="{BCCCC111-CA7C-CAB0-EAC5-333D5A26296D}"/>
          </ac:cxnSpMkLst>
        </pc:cxnChg>
        <pc:cxnChg chg="add mod">
          <ac:chgData name="Roberto Gallardo" userId="49a044883f185952" providerId="LiveId" clId="{F4D957F6-5F28-4DDF-9F2A-0CB3D547903A}" dt="2022-07-09T12:04:25.929" v="2915" actId="1076"/>
          <ac:cxnSpMkLst>
            <pc:docMk/>
            <pc:sldMk cId="513409896" sldId="276"/>
            <ac:cxnSpMk id="17" creationId="{26BD209E-6819-82CB-9B59-E03611EAC1FC}"/>
          </ac:cxnSpMkLst>
        </pc:cxnChg>
        <pc:cxnChg chg="add mod">
          <ac:chgData name="Roberto Gallardo" userId="49a044883f185952" providerId="LiveId" clId="{F4D957F6-5F28-4DDF-9F2A-0CB3D547903A}" dt="2022-07-09T12:04:25.929" v="2915" actId="1076"/>
          <ac:cxnSpMkLst>
            <pc:docMk/>
            <pc:sldMk cId="513409896" sldId="276"/>
            <ac:cxnSpMk id="18" creationId="{F8736966-F272-CC1E-CA8B-886785B2B5EB}"/>
          </ac:cxnSpMkLst>
        </pc:cxnChg>
        <pc:cxnChg chg="add mod">
          <ac:chgData name="Roberto Gallardo" userId="49a044883f185952" providerId="LiveId" clId="{F4D957F6-5F28-4DDF-9F2A-0CB3D547903A}" dt="2022-07-09T12:04:25.929" v="2915" actId="1076"/>
          <ac:cxnSpMkLst>
            <pc:docMk/>
            <pc:sldMk cId="513409896" sldId="276"/>
            <ac:cxnSpMk id="19" creationId="{310587E0-05D3-43D7-B764-184E1AB6C561}"/>
          </ac:cxnSpMkLst>
        </pc:cxnChg>
        <pc:cxnChg chg="add mod">
          <ac:chgData name="Roberto Gallardo" userId="49a044883f185952" providerId="LiveId" clId="{F4D957F6-5F28-4DDF-9F2A-0CB3D547903A}" dt="2022-07-09T12:04:25.929" v="2915" actId="1076"/>
          <ac:cxnSpMkLst>
            <pc:docMk/>
            <pc:sldMk cId="513409896" sldId="276"/>
            <ac:cxnSpMk id="20" creationId="{4FC1B3BE-8F7B-FCC3-C3CB-625A8A3E620F}"/>
          </ac:cxnSpMkLst>
        </pc:cxnChg>
        <pc:cxnChg chg="add mod">
          <ac:chgData name="Roberto Gallardo" userId="49a044883f185952" providerId="LiveId" clId="{F4D957F6-5F28-4DDF-9F2A-0CB3D547903A}" dt="2022-07-09T12:04:52.466" v="2923" actId="1035"/>
          <ac:cxnSpMkLst>
            <pc:docMk/>
            <pc:sldMk cId="513409896" sldId="276"/>
            <ac:cxnSpMk id="22" creationId="{1B423FA0-E4B3-6570-929B-A9283D503787}"/>
          </ac:cxnSpMkLst>
        </pc:cxnChg>
        <pc:cxnChg chg="add mod">
          <ac:chgData name="Roberto Gallardo" userId="49a044883f185952" providerId="LiveId" clId="{F4D957F6-5F28-4DDF-9F2A-0CB3D547903A}" dt="2022-07-09T12:05:11.201" v="2942" actId="1035"/>
          <ac:cxnSpMkLst>
            <pc:docMk/>
            <pc:sldMk cId="513409896" sldId="276"/>
            <ac:cxnSpMk id="23" creationId="{D616797E-0044-3804-BA5A-23B8EB309CA5}"/>
          </ac:cxnSpMkLst>
        </pc:cxnChg>
        <pc:cxnChg chg="add mod">
          <ac:chgData name="Roberto Gallardo" userId="49a044883f185952" providerId="LiveId" clId="{F4D957F6-5F28-4DDF-9F2A-0CB3D547903A}" dt="2022-07-09T12:05:40.828" v="3001" actId="14100"/>
          <ac:cxnSpMkLst>
            <pc:docMk/>
            <pc:sldMk cId="513409896" sldId="276"/>
            <ac:cxnSpMk id="24" creationId="{20A6256E-6780-BAE0-B803-D02FE024579F}"/>
          </ac:cxnSpMkLst>
        </pc:cxnChg>
        <pc:cxnChg chg="add mod">
          <ac:chgData name="Roberto Gallardo" userId="49a044883f185952" providerId="LiveId" clId="{F4D957F6-5F28-4DDF-9F2A-0CB3D547903A}" dt="2022-07-09T12:08:13.283" v="3023" actId="14100"/>
          <ac:cxnSpMkLst>
            <pc:docMk/>
            <pc:sldMk cId="513409896" sldId="276"/>
            <ac:cxnSpMk id="25" creationId="{62B7492E-2C75-E0CD-947E-C582F412F7D7}"/>
          </ac:cxnSpMkLst>
        </pc:cxnChg>
      </pc:sldChg>
      <pc:sldChg chg="addSp delSp modSp add mod ord">
        <pc:chgData name="Roberto Gallardo" userId="49a044883f185952" providerId="LiveId" clId="{F4D957F6-5F28-4DDF-9F2A-0CB3D547903A}" dt="2022-07-09T12:54:16.818" v="8096"/>
        <pc:sldMkLst>
          <pc:docMk/>
          <pc:sldMk cId="543148149" sldId="277"/>
        </pc:sldMkLst>
        <pc:spChg chg="mod">
          <ac:chgData name="Roberto Gallardo" userId="49a044883f185952" providerId="LiveId" clId="{F4D957F6-5F28-4DDF-9F2A-0CB3D547903A}" dt="2022-07-09T12:09:27.514" v="3061" actId="20577"/>
          <ac:spMkLst>
            <pc:docMk/>
            <pc:sldMk cId="543148149" sldId="277"/>
            <ac:spMk id="2" creationId="{C03B1400-5F72-D252-1DBE-EDCD6E63B07C}"/>
          </ac:spMkLst>
        </pc:spChg>
        <pc:spChg chg="add mod">
          <ac:chgData name="Roberto Gallardo" userId="49a044883f185952" providerId="LiveId" clId="{F4D957F6-5F28-4DDF-9F2A-0CB3D547903A}" dt="2022-07-09T12:54:12.079" v="8095" actId="20577"/>
          <ac:spMkLst>
            <pc:docMk/>
            <pc:sldMk cId="543148149" sldId="277"/>
            <ac:spMk id="5" creationId="{6AE302AC-8931-4144-BE52-DD1A8BA82462}"/>
          </ac:spMkLst>
        </pc:spChg>
        <pc:spChg chg="del">
          <ac:chgData name="Roberto Gallardo" userId="49a044883f185952" providerId="LiveId" clId="{F4D957F6-5F28-4DDF-9F2A-0CB3D547903A}" dt="2022-07-09T12:09:08.508" v="3031" actId="478"/>
          <ac:spMkLst>
            <pc:docMk/>
            <pc:sldMk cId="543148149" sldId="277"/>
            <ac:spMk id="8" creationId="{40AF43CC-DD34-B66D-2100-C70E6AB3ED53}"/>
          </ac:spMkLst>
        </pc:spChg>
        <pc:spChg chg="add mod">
          <ac:chgData name="Roberto Gallardo" userId="49a044883f185952" providerId="LiveId" clId="{F4D957F6-5F28-4DDF-9F2A-0CB3D547903A}" dt="2022-07-09T12:51:48.063" v="8046" actId="20577"/>
          <ac:spMkLst>
            <pc:docMk/>
            <pc:sldMk cId="543148149" sldId="277"/>
            <ac:spMk id="9" creationId="{E362A98F-7DCD-C67C-23CE-1BE182A133B4}"/>
          </ac:spMkLst>
        </pc:spChg>
        <pc:graphicFrameChg chg="del">
          <ac:chgData name="Roberto Gallardo" userId="49a044883f185952" providerId="LiveId" clId="{F4D957F6-5F28-4DDF-9F2A-0CB3D547903A}" dt="2022-07-09T12:09:06.575" v="3030" actId="478"/>
          <ac:graphicFrameMkLst>
            <pc:docMk/>
            <pc:sldMk cId="543148149" sldId="277"/>
            <ac:graphicFrameMk id="7" creationId="{9B61CC2F-17D9-E6A9-D1A8-11B47E6F047B}"/>
          </ac:graphicFrameMkLst>
        </pc:graphicFrameChg>
        <pc:picChg chg="del">
          <ac:chgData name="Roberto Gallardo" userId="49a044883f185952" providerId="LiveId" clId="{F4D957F6-5F28-4DDF-9F2A-0CB3D547903A}" dt="2022-07-09T12:09:03.997" v="3029" actId="478"/>
          <ac:picMkLst>
            <pc:docMk/>
            <pc:sldMk cId="543148149" sldId="277"/>
            <ac:picMk id="6" creationId="{7454CA65-C29D-E836-52C1-21A108BA680B}"/>
          </ac:picMkLst>
        </pc:picChg>
        <pc:picChg chg="add del mod">
          <ac:chgData name="Roberto Gallardo" userId="49a044883f185952" providerId="LiveId" clId="{F4D957F6-5F28-4DDF-9F2A-0CB3D547903A}" dt="2022-07-09T12:34:32.957" v="7446" actId="478"/>
          <ac:picMkLst>
            <pc:docMk/>
            <pc:sldMk cId="543148149" sldId="277"/>
            <ac:picMk id="10" creationId="{A5E287D6-F3CD-8BB0-EC0F-5940483921DC}"/>
          </ac:picMkLst>
        </pc:picChg>
        <pc:picChg chg="add del mod">
          <ac:chgData name="Roberto Gallardo" userId="49a044883f185952" providerId="LiveId" clId="{F4D957F6-5F28-4DDF-9F2A-0CB3D547903A}" dt="2022-07-09T12:37:27.928" v="7849" actId="478"/>
          <ac:picMkLst>
            <pc:docMk/>
            <pc:sldMk cId="543148149" sldId="277"/>
            <ac:picMk id="11" creationId="{E8ABEFBC-4C66-F937-39D7-2095662F0F18}"/>
          </ac:picMkLst>
        </pc:picChg>
        <pc:picChg chg="add del mod">
          <ac:chgData name="Roberto Gallardo" userId="49a044883f185952" providerId="LiveId" clId="{F4D957F6-5F28-4DDF-9F2A-0CB3D547903A}" dt="2022-07-09T12:39:48.675" v="7879" actId="478"/>
          <ac:picMkLst>
            <pc:docMk/>
            <pc:sldMk cId="543148149" sldId="277"/>
            <ac:picMk id="12" creationId="{0DB2CB50-4F32-19BB-5A2F-C8C1E8099D2E}"/>
          </ac:picMkLst>
        </pc:picChg>
        <pc:picChg chg="add del mod">
          <ac:chgData name="Roberto Gallardo" userId="49a044883f185952" providerId="LiveId" clId="{F4D957F6-5F28-4DDF-9F2A-0CB3D547903A}" dt="2022-07-09T12:52:20.591" v="8048" actId="478"/>
          <ac:picMkLst>
            <pc:docMk/>
            <pc:sldMk cId="543148149" sldId="277"/>
            <ac:picMk id="13" creationId="{CFE2EE2F-7A19-368F-E1A6-0DFA1BFEC516}"/>
          </ac:picMkLst>
        </pc:picChg>
        <pc:picChg chg="add del mod">
          <ac:chgData name="Roberto Gallardo" userId="49a044883f185952" providerId="LiveId" clId="{F4D957F6-5F28-4DDF-9F2A-0CB3D547903A}" dt="2022-07-09T12:53:46.507" v="8051" actId="478"/>
          <ac:picMkLst>
            <pc:docMk/>
            <pc:sldMk cId="543148149" sldId="277"/>
            <ac:picMk id="14" creationId="{240B76E8-1524-A684-469D-CA55C48CE23D}"/>
          </ac:picMkLst>
        </pc:picChg>
        <pc:picChg chg="add mod">
          <ac:chgData name="Roberto Gallardo" userId="49a044883f185952" providerId="LiveId" clId="{F4D957F6-5F28-4DDF-9F2A-0CB3D547903A}" dt="2022-07-09T12:54:16.818" v="8096"/>
          <ac:picMkLst>
            <pc:docMk/>
            <pc:sldMk cId="543148149" sldId="277"/>
            <ac:picMk id="15" creationId="{B191D37B-F1CD-5A9C-06B8-E0E4181E0306}"/>
          </ac:picMkLst>
        </pc:picChg>
      </pc:sldChg>
      <pc:sldChg chg="addSp delSp modSp add mod ord">
        <pc:chgData name="Roberto Gallardo" userId="49a044883f185952" providerId="LiveId" clId="{F4D957F6-5F28-4DDF-9F2A-0CB3D547903A}" dt="2022-07-09T13:56:11.511" v="8162"/>
        <pc:sldMkLst>
          <pc:docMk/>
          <pc:sldMk cId="349244952" sldId="278"/>
        </pc:sldMkLst>
        <pc:spChg chg="mod">
          <ac:chgData name="Roberto Gallardo" userId="49a044883f185952" providerId="LiveId" clId="{F4D957F6-5F28-4DDF-9F2A-0CB3D547903A}" dt="2022-07-09T13:21:50.119" v="8150" actId="20577"/>
          <ac:spMkLst>
            <pc:docMk/>
            <pc:sldMk cId="349244952" sldId="278"/>
            <ac:spMk id="2" creationId="{C03B1400-5F72-D252-1DBE-EDCD6E63B07C}"/>
          </ac:spMkLst>
        </pc:spChg>
        <pc:spChg chg="mod">
          <ac:chgData name="Roberto Gallardo" userId="49a044883f185952" providerId="LiveId" clId="{F4D957F6-5F28-4DDF-9F2A-0CB3D547903A}" dt="2022-07-09T13:55:33.596" v="8161" actId="6549"/>
          <ac:spMkLst>
            <pc:docMk/>
            <pc:sldMk cId="349244952" sldId="278"/>
            <ac:spMk id="8" creationId="{40AF43CC-DD34-B66D-2100-C70E6AB3ED53}"/>
          </ac:spMkLst>
        </pc:spChg>
        <pc:graphicFrameChg chg="mod">
          <ac:chgData name="Roberto Gallardo" userId="49a044883f185952" providerId="LiveId" clId="{F4D957F6-5F28-4DDF-9F2A-0CB3D547903A}" dt="2022-07-09T12:50:16.594" v="8030"/>
          <ac:graphicFrameMkLst>
            <pc:docMk/>
            <pc:sldMk cId="349244952" sldId="278"/>
            <ac:graphicFrameMk id="10" creationId="{FD2FC231-ACEF-5FF2-C4CE-DFF89EB85588}"/>
          </ac:graphicFrameMkLst>
        </pc:graphicFrameChg>
        <pc:picChg chg="add del mod">
          <ac:chgData name="Roberto Gallardo" userId="49a044883f185952" providerId="LiveId" clId="{F4D957F6-5F28-4DDF-9F2A-0CB3D547903A}" dt="2022-07-09T13:21:38.290" v="8097" actId="478"/>
          <ac:picMkLst>
            <pc:docMk/>
            <pc:sldMk cId="349244952" sldId="278"/>
            <ac:picMk id="7" creationId="{84A10A3A-1472-C43B-0AE3-BD4DBCDECAC4}"/>
          </ac:picMkLst>
        </pc:picChg>
        <pc:picChg chg="del">
          <ac:chgData name="Roberto Gallardo" userId="49a044883f185952" providerId="LiveId" clId="{F4D957F6-5F28-4DDF-9F2A-0CB3D547903A}" dt="2022-07-09T12:48:28.958" v="7918" actId="478"/>
          <ac:picMkLst>
            <pc:docMk/>
            <pc:sldMk cId="349244952" sldId="278"/>
            <ac:picMk id="9" creationId="{FFA57C8B-4C3E-6D4F-82A8-EE27683795FD}"/>
          </ac:picMkLst>
        </pc:picChg>
        <pc:picChg chg="add mod">
          <ac:chgData name="Roberto Gallardo" userId="49a044883f185952" providerId="LiveId" clId="{F4D957F6-5F28-4DDF-9F2A-0CB3D547903A}" dt="2022-07-09T13:56:11.511" v="8162"/>
          <ac:picMkLst>
            <pc:docMk/>
            <pc:sldMk cId="349244952" sldId="278"/>
            <ac:picMk id="11" creationId="{DB0A9B91-BDA9-CBFA-5C74-903665FB0440}"/>
          </ac:picMkLst>
        </pc:picChg>
      </pc:sldChg>
    </pc:docChg>
  </pc:docChgLst>
  <pc:docChgLst>
    <pc:chgData name="Roberto Gallardo" userId="49a044883f185952" providerId="LiveId" clId="{02E62311-3431-4225-A27C-34CEADE74758}"/>
    <pc:docChg chg="custSel modSld">
      <pc:chgData name="Roberto Gallardo" userId="49a044883f185952" providerId="LiveId" clId="{02E62311-3431-4225-A27C-34CEADE74758}" dt="2023-01-16T17:59:26.890" v="404" actId="27918"/>
      <pc:docMkLst>
        <pc:docMk/>
      </pc:docMkLst>
      <pc:sldChg chg="modSp mod">
        <pc:chgData name="Roberto Gallardo" userId="49a044883f185952" providerId="LiveId" clId="{02E62311-3431-4225-A27C-34CEADE74758}" dt="2023-01-16T16:53:22.827" v="8" actId="20577"/>
        <pc:sldMkLst>
          <pc:docMk/>
          <pc:sldMk cId="2846901679" sldId="256"/>
        </pc:sldMkLst>
        <pc:spChg chg="mod">
          <ac:chgData name="Roberto Gallardo" userId="49a044883f185952" providerId="LiveId" clId="{02E62311-3431-4225-A27C-34CEADE74758}" dt="2023-01-16T16:53:22.827" v="8" actId="20577"/>
          <ac:spMkLst>
            <pc:docMk/>
            <pc:sldMk cId="2846901679" sldId="256"/>
            <ac:spMk id="7" creationId="{B1E0ABEC-554C-720A-2772-F0324C8E93CA}"/>
          </ac:spMkLst>
        </pc:spChg>
      </pc:sldChg>
      <pc:sldChg chg="mod">
        <pc:chgData name="Roberto Gallardo" userId="49a044883f185952" providerId="LiveId" clId="{02E62311-3431-4225-A27C-34CEADE74758}" dt="2023-01-16T17:11:12.544" v="51" actId="27918"/>
        <pc:sldMkLst>
          <pc:docMk/>
          <pc:sldMk cId="3231157596" sldId="257"/>
        </pc:sldMkLst>
      </pc:sldChg>
      <pc:sldChg chg="mod">
        <pc:chgData name="Roberto Gallardo" userId="49a044883f185952" providerId="LiveId" clId="{02E62311-3431-4225-A27C-34CEADE74758}" dt="2023-01-16T17:10:03.441" v="39" actId="27918"/>
        <pc:sldMkLst>
          <pc:docMk/>
          <pc:sldMk cId="3702837515" sldId="258"/>
        </pc:sldMkLst>
      </pc:sldChg>
      <pc:sldChg chg="mod">
        <pc:chgData name="Roberto Gallardo" userId="49a044883f185952" providerId="LiveId" clId="{02E62311-3431-4225-A27C-34CEADE74758}" dt="2023-01-16T17:10:38.308" v="45" actId="27918"/>
        <pc:sldMkLst>
          <pc:docMk/>
          <pc:sldMk cId="2519083202" sldId="259"/>
        </pc:sldMkLst>
      </pc:sldChg>
      <pc:sldChg chg="mod">
        <pc:chgData name="Roberto Gallardo" userId="49a044883f185952" providerId="LiveId" clId="{02E62311-3431-4225-A27C-34CEADE74758}" dt="2023-01-16T17:09:17.208" v="33" actId="27918"/>
        <pc:sldMkLst>
          <pc:docMk/>
          <pc:sldMk cId="3877078759" sldId="260"/>
        </pc:sldMkLst>
      </pc:sldChg>
      <pc:sldChg chg="mod">
        <pc:chgData name="Roberto Gallardo" userId="49a044883f185952" providerId="LiveId" clId="{02E62311-3431-4225-A27C-34CEADE74758}" dt="2023-01-16T17:12:39.039" v="63" actId="27918"/>
        <pc:sldMkLst>
          <pc:docMk/>
          <pc:sldMk cId="1175010214" sldId="261"/>
        </pc:sldMkLst>
      </pc:sldChg>
      <pc:sldChg chg="addSp delSp modSp mod">
        <pc:chgData name="Roberto Gallardo" userId="49a044883f185952" providerId="LiveId" clId="{02E62311-3431-4225-A27C-34CEADE74758}" dt="2023-01-16T17:13:10.304" v="69" actId="1076"/>
        <pc:sldMkLst>
          <pc:docMk/>
          <pc:sldMk cId="1418533539" sldId="271"/>
        </pc:sldMkLst>
        <pc:picChg chg="add mod">
          <ac:chgData name="Roberto Gallardo" userId="49a044883f185952" providerId="LiveId" clId="{02E62311-3431-4225-A27C-34CEADE74758}" dt="2023-01-16T17:13:10.304" v="69" actId="1076"/>
          <ac:picMkLst>
            <pc:docMk/>
            <pc:sldMk cId="1418533539" sldId="271"/>
            <ac:picMk id="6" creationId="{EEE088EB-87F6-A900-FE3D-5EA89200074C}"/>
          </ac:picMkLst>
        </pc:picChg>
        <pc:picChg chg="del">
          <ac:chgData name="Roberto Gallardo" userId="49a044883f185952" providerId="LiveId" clId="{02E62311-3431-4225-A27C-34CEADE74758}" dt="2023-01-16T16:53:27.833" v="9" actId="478"/>
          <ac:picMkLst>
            <pc:docMk/>
            <pc:sldMk cId="1418533539" sldId="271"/>
            <ac:picMk id="7" creationId="{163E5F35-A7DD-BA19-FE7A-814841572ADA}"/>
          </ac:picMkLst>
        </pc:picChg>
      </pc:sldChg>
      <pc:sldChg chg="mod">
        <pc:chgData name="Roberto Gallardo" userId="49a044883f185952" providerId="LiveId" clId="{02E62311-3431-4225-A27C-34CEADE74758}" dt="2023-01-16T17:11:52.706" v="57" actId="27918"/>
        <pc:sldMkLst>
          <pc:docMk/>
          <pc:sldMk cId="2653937722" sldId="272"/>
        </pc:sldMkLst>
      </pc:sldChg>
      <pc:sldChg chg="mod">
        <pc:chgData name="Roberto Gallardo" userId="49a044883f185952" providerId="LiveId" clId="{02E62311-3431-4225-A27C-34CEADE74758}" dt="2023-01-16T17:56:46.745" v="375" actId="27918"/>
        <pc:sldMkLst>
          <pc:docMk/>
          <pc:sldMk cId="2076698419" sldId="273"/>
        </pc:sldMkLst>
      </pc:sldChg>
      <pc:sldChg chg="mod">
        <pc:chgData name="Roberto Gallardo" userId="49a044883f185952" providerId="LiveId" clId="{02E62311-3431-4225-A27C-34CEADE74758}" dt="2023-01-16T17:58:38.814" v="395" actId="27918"/>
        <pc:sldMkLst>
          <pc:docMk/>
          <pc:sldMk cId="3802335161" sldId="274"/>
        </pc:sldMkLst>
      </pc:sldChg>
      <pc:sldChg chg="mod">
        <pc:chgData name="Roberto Gallardo" userId="49a044883f185952" providerId="LiveId" clId="{02E62311-3431-4225-A27C-34CEADE74758}" dt="2023-01-16T17:59:26.890" v="404" actId="27918"/>
        <pc:sldMkLst>
          <pc:docMk/>
          <pc:sldMk cId="4292554322" sldId="275"/>
        </pc:sldMkLst>
      </pc:sldChg>
      <pc:sldChg chg="modSp mod">
        <pc:chgData name="Roberto Gallardo" userId="49a044883f185952" providerId="LiveId" clId="{02E62311-3431-4225-A27C-34CEADE74758}" dt="2023-01-16T17:58:17.473" v="391" actId="1076"/>
        <pc:sldMkLst>
          <pc:docMk/>
          <pc:sldMk cId="513409896" sldId="276"/>
        </pc:sldMkLst>
        <pc:spChg chg="mod">
          <ac:chgData name="Roberto Gallardo" userId="49a044883f185952" providerId="LiveId" clId="{02E62311-3431-4225-A27C-34CEADE74758}" dt="2023-01-16T17:58:17.473" v="391" actId="1076"/>
          <ac:spMkLst>
            <pc:docMk/>
            <pc:sldMk cId="513409896" sldId="276"/>
            <ac:spMk id="21" creationId="{9A68ADBE-AECC-EE60-7E94-3675B33E08AE}"/>
          </ac:spMkLst>
        </pc:spChg>
        <pc:cxnChg chg="mod">
          <ac:chgData name="Roberto Gallardo" userId="49a044883f185952" providerId="LiveId" clId="{02E62311-3431-4225-A27C-34CEADE74758}" dt="2023-01-16T17:58:07.867" v="389" actId="1035"/>
          <ac:cxnSpMkLst>
            <pc:docMk/>
            <pc:sldMk cId="513409896" sldId="276"/>
            <ac:cxnSpMk id="22" creationId="{1B423FA0-E4B3-6570-929B-A9283D503787}"/>
          </ac:cxnSpMkLst>
        </pc:cxnChg>
        <pc:cxnChg chg="mod">
          <ac:chgData name="Roberto Gallardo" userId="49a044883f185952" providerId="LiveId" clId="{02E62311-3431-4225-A27C-34CEADE74758}" dt="2023-01-16T17:57:52.995" v="385" actId="1076"/>
          <ac:cxnSpMkLst>
            <pc:docMk/>
            <pc:sldMk cId="513409896" sldId="276"/>
            <ac:cxnSpMk id="23" creationId="{D616797E-0044-3804-BA5A-23B8EB309CA5}"/>
          </ac:cxnSpMkLst>
        </pc:cxnChg>
        <pc:cxnChg chg="mod">
          <ac:chgData name="Roberto Gallardo" userId="49a044883f185952" providerId="LiveId" clId="{02E62311-3431-4225-A27C-34CEADE74758}" dt="2023-01-16T17:58:13.346" v="390" actId="14100"/>
          <ac:cxnSpMkLst>
            <pc:docMk/>
            <pc:sldMk cId="513409896" sldId="276"/>
            <ac:cxnSpMk id="24" creationId="{20A6256E-6780-BAE0-B803-D02FE024579F}"/>
          </ac:cxnSpMkLst>
        </pc:cxnChg>
        <pc:cxnChg chg="mod">
          <ac:chgData name="Roberto Gallardo" userId="49a044883f185952" providerId="LiveId" clId="{02E62311-3431-4225-A27C-34CEADE74758}" dt="2023-01-16T17:58:07.867" v="389" actId="1035"/>
          <ac:cxnSpMkLst>
            <pc:docMk/>
            <pc:sldMk cId="513409896" sldId="276"/>
            <ac:cxnSpMk id="25" creationId="{62B7492E-2C75-E0CD-947E-C582F412F7D7}"/>
          </ac:cxnSpMkLst>
        </pc:cxnChg>
      </pc:sldChg>
      <pc:sldChg chg="mod">
        <pc:chgData name="Roberto Gallardo" userId="49a044883f185952" providerId="LiveId" clId="{02E62311-3431-4225-A27C-34CEADE74758}" dt="2023-01-16T17:56:18.475" v="370" actId="27918"/>
        <pc:sldMkLst>
          <pc:docMk/>
          <pc:sldMk cId="349244952" sldId="278"/>
        </pc:sldMkLst>
      </pc:sldChg>
      <pc:sldChg chg="addSp delSp modSp mod">
        <pc:chgData name="Roberto Gallardo" userId="49a044883f185952" providerId="LiveId" clId="{02E62311-3431-4225-A27C-34CEADE74758}" dt="2023-01-16T17:32:12.193" v="155" actId="1076"/>
        <pc:sldMkLst>
          <pc:docMk/>
          <pc:sldMk cId="2124848710" sldId="281"/>
        </pc:sldMkLst>
        <pc:picChg chg="add mod">
          <ac:chgData name="Roberto Gallardo" userId="49a044883f185952" providerId="LiveId" clId="{02E62311-3431-4225-A27C-34CEADE74758}" dt="2023-01-16T17:32:12.193" v="155" actId="1076"/>
          <ac:picMkLst>
            <pc:docMk/>
            <pc:sldMk cId="2124848710" sldId="281"/>
            <ac:picMk id="5" creationId="{973C2525-FACA-3A61-D9A6-550A037DE86E}"/>
          </ac:picMkLst>
        </pc:picChg>
        <pc:picChg chg="del">
          <ac:chgData name="Roberto Gallardo" userId="49a044883f185952" providerId="LiveId" clId="{02E62311-3431-4225-A27C-34CEADE74758}" dt="2023-01-16T16:53:40.010" v="15" actId="478"/>
          <ac:picMkLst>
            <pc:docMk/>
            <pc:sldMk cId="2124848710" sldId="281"/>
            <ac:picMk id="8" creationId="{9153084F-FC00-0CE4-66C8-0E07E1623826}"/>
          </ac:picMkLst>
        </pc:picChg>
      </pc:sldChg>
      <pc:sldChg chg="addSp delSp modSp mod">
        <pc:chgData name="Roberto Gallardo" userId="49a044883f185952" providerId="LiveId" clId="{02E62311-3431-4225-A27C-34CEADE74758}" dt="2023-01-16T17:33:36.949" v="172" actId="1076"/>
        <pc:sldMkLst>
          <pc:docMk/>
          <pc:sldMk cId="2028175529" sldId="282"/>
        </pc:sldMkLst>
        <pc:picChg chg="del">
          <ac:chgData name="Roberto Gallardo" userId="49a044883f185952" providerId="LiveId" clId="{02E62311-3431-4225-A27C-34CEADE74758}" dt="2023-01-16T16:53:42.047" v="16" actId="478"/>
          <ac:picMkLst>
            <pc:docMk/>
            <pc:sldMk cId="2028175529" sldId="282"/>
            <ac:picMk id="5" creationId="{66F5E906-151A-8A14-F31C-BFF6F6AC1A90}"/>
          </ac:picMkLst>
        </pc:picChg>
        <pc:picChg chg="add mod">
          <ac:chgData name="Roberto Gallardo" userId="49a044883f185952" providerId="LiveId" clId="{02E62311-3431-4225-A27C-34CEADE74758}" dt="2023-01-16T17:33:36.949" v="172" actId="1076"/>
          <ac:picMkLst>
            <pc:docMk/>
            <pc:sldMk cId="2028175529" sldId="282"/>
            <ac:picMk id="8" creationId="{CCC8D008-EE63-E929-0128-4D3447357ED7}"/>
          </ac:picMkLst>
        </pc:picChg>
      </pc:sldChg>
      <pc:sldChg chg="addSp delSp modSp mod">
        <pc:chgData name="Roberto Gallardo" userId="49a044883f185952" providerId="LiveId" clId="{02E62311-3431-4225-A27C-34CEADE74758}" dt="2023-01-16T17:34:57.600" v="188" actId="1076"/>
        <pc:sldMkLst>
          <pc:docMk/>
          <pc:sldMk cId="1326517747" sldId="283"/>
        </pc:sldMkLst>
        <pc:picChg chg="del">
          <ac:chgData name="Roberto Gallardo" userId="49a044883f185952" providerId="LiveId" clId="{02E62311-3431-4225-A27C-34CEADE74758}" dt="2023-01-16T16:53:43.868" v="17" actId="478"/>
          <ac:picMkLst>
            <pc:docMk/>
            <pc:sldMk cId="1326517747" sldId="283"/>
            <ac:picMk id="5" creationId="{1D8CBC8A-DA84-2A40-2362-0658B5BBF047}"/>
          </ac:picMkLst>
        </pc:picChg>
        <pc:picChg chg="add mod">
          <ac:chgData name="Roberto Gallardo" userId="49a044883f185952" providerId="LiveId" clId="{02E62311-3431-4225-A27C-34CEADE74758}" dt="2023-01-16T17:34:57.600" v="188" actId="1076"/>
          <ac:picMkLst>
            <pc:docMk/>
            <pc:sldMk cId="1326517747" sldId="283"/>
            <ac:picMk id="8" creationId="{D40FEE81-55D5-C86D-08E6-102FD925CACD}"/>
          </ac:picMkLst>
        </pc:picChg>
      </pc:sldChg>
      <pc:sldChg chg="addSp delSp modSp mod">
        <pc:chgData name="Roberto Gallardo" userId="49a044883f185952" providerId="LiveId" clId="{02E62311-3431-4225-A27C-34CEADE74758}" dt="2023-01-16T17:36:12.329" v="204" actId="1076"/>
        <pc:sldMkLst>
          <pc:docMk/>
          <pc:sldMk cId="783739251" sldId="284"/>
        </pc:sldMkLst>
        <pc:picChg chg="del">
          <ac:chgData name="Roberto Gallardo" userId="49a044883f185952" providerId="LiveId" clId="{02E62311-3431-4225-A27C-34CEADE74758}" dt="2023-01-16T16:53:45.889" v="18" actId="478"/>
          <ac:picMkLst>
            <pc:docMk/>
            <pc:sldMk cId="783739251" sldId="284"/>
            <ac:picMk id="5" creationId="{56A01DA7-29EC-A2CD-67AC-FA3383E14F1A}"/>
          </ac:picMkLst>
        </pc:picChg>
        <pc:picChg chg="add mod">
          <ac:chgData name="Roberto Gallardo" userId="49a044883f185952" providerId="LiveId" clId="{02E62311-3431-4225-A27C-34CEADE74758}" dt="2023-01-16T17:36:12.329" v="204" actId="1076"/>
          <ac:picMkLst>
            <pc:docMk/>
            <pc:sldMk cId="783739251" sldId="284"/>
            <ac:picMk id="8" creationId="{C8E65C83-6AAA-6874-5A47-5840562F357A}"/>
          </ac:picMkLst>
        </pc:picChg>
      </pc:sldChg>
      <pc:sldChg chg="addSp delSp modSp mod">
        <pc:chgData name="Roberto Gallardo" userId="49a044883f185952" providerId="LiveId" clId="{02E62311-3431-4225-A27C-34CEADE74758}" dt="2023-01-16T17:38:47.080" v="223" actId="1076"/>
        <pc:sldMkLst>
          <pc:docMk/>
          <pc:sldMk cId="1676122233" sldId="285"/>
        </pc:sldMkLst>
        <pc:picChg chg="del">
          <ac:chgData name="Roberto Gallardo" userId="49a044883f185952" providerId="LiveId" clId="{02E62311-3431-4225-A27C-34CEADE74758}" dt="2023-01-16T16:53:47.355" v="19" actId="478"/>
          <ac:picMkLst>
            <pc:docMk/>
            <pc:sldMk cId="1676122233" sldId="285"/>
            <ac:picMk id="5" creationId="{EA4F6CC3-0588-CCCE-1FDF-25F2BB21661A}"/>
          </ac:picMkLst>
        </pc:picChg>
        <pc:picChg chg="add mod">
          <ac:chgData name="Roberto Gallardo" userId="49a044883f185952" providerId="LiveId" clId="{02E62311-3431-4225-A27C-34CEADE74758}" dt="2023-01-16T17:38:47.080" v="223" actId="1076"/>
          <ac:picMkLst>
            <pc:docMk/>
            <pc:sldMk cId="1676122233" sldId="285"/>
            <ac:picMk id="8" creationId="{DB2F6590-6A49-4B47-388D-D0DD632E18C8}"/>
          </ac:picMkLst>
        </pc:picChg>
      </pc:sldChg>
      <pc:sldChg chg="addSp delSp modSp mod">
        <pc:chgData name="Roberto Gallardo" userId="49a044883f185952" providerId="LiveId" clId="{02E62311-3431-4225-A27C-34CEADE74758}" dt="2023-01-16T17:41:54.746" v="240" actId="1076"/>
        <pc:sldMkLst>
          <pc:docMk/>
          <pc:sldMk cId="3100398757" sldId="286"/>
        </pc:sldMkLst>
        <pc:picChg chg="del">
          <ac:chgData name="Roberto Gallardo" userId="49a044883f185952" providerId="LiveId" clId="{02E62311-3431-4225-A27C-34CEADE74758}" dt="2023-01-16T16:53:49.369" v="20" actId="478"/>
          <ac:picMkLst>
            <pc:docMk/>
            <pc:sldMk cId="3100398757" sldId="286"/>
            <ac:picMk id="5" creationId="{190E412C-AB2D-2EAE-DCC8-9C46E6B3C279}"/>
          </ac:picMkLst>
        </pc:picChg>
        <pc:picChg chg="add mod">
          <ac:chgData name="Roberto Gallardo" userId="49a044883f185952" providerId="LiveId" clId="{02E62311-3431-4225-A27C-34CEADE74758}" dt="2023-01-16T17:41:54.746" v="240" actId="1076"/>
          <ac:picMkLst>
            <pc:docMk/>
            <pc:sldMk cId="3100398757" sldId="286"/>
            <ac:picMk id="8" creationId="{95507716-2407-BF86-C3FD-E6BD5869DB33}"/>
          </ac:picMkLst>
        </pc:picChg>
      </pc:sldChg>
      <pc:sldChg chg="addSp delSp modSp mod">
        <pc:chgData name="Roberto Gallardo" userId="49a044883f185952" providerId="LiveId" clId="{02E62311-3431-4225-A27C-34CEADE74758}" dt="2023-01-16T17:46:21.238" v="259" actId="1076"/>
        <pc:sldMkLst>
          <pc:docMk/>
          <pc:sldMk cId="1546475425" sldId="287"/>
        </pc:sldMkLst>
        <pc:picChg chg="del">
          <ac:chgData name="Roberto Gallardo" userId="49a044883f185952" providerId="LiveId" clId="{02E62311-3431-4225-A27C-34CEADE74758}" dt="2023-01-16T16:53:50.968" v="21" actId="478"/>
          <ac:picMkLst>
            <pc:docMk/>
            <pc:sldMk cId="1546475425" sldId="287"/>
            <ac:picMk id="5" creationId="{5A858AD0-E725-2D3F-BDE4-B4BDB92FD3C4}"/>
          </ac:picMkLst>
        </pc:picChg>
        <pc:picChg chg="add mod">
          <ac:chgData name="Roberto Gallardo" userId="49a044883f185952" providerId="LiveId" clId="{02E62311-3431-4225-A27C-34CEADE74758}" dt="2023-01-16T17:46:21.238" v="259" actId="1076"/>
          <ac:picMkLst>
            <pc:docMk/>
            <pc:sldMk cId="1546475425" sldId="287"/>
            <ac:picMk id="8" creationId="{21A5683A-DA0C-40C3-69C8-A9E32864B426}"/>
          </ac:picMkLst>
        </pc:picChg>
      </pc:sldChg>
      <pc:sldChg chg="addSp delSp modSp mod">
        <pc:chgData name="Roberto Gallardo" userId="49a044883f185952" providerId="LiveId" clId="{02E62311-3431-4225-A27C-34CEADE74758}" dt="2023-01-16T17:50:27.870" v="296" actId="1076"/>
        <pc:sldMkLst>
          <pc:docMk/>
          <pc:sldMk cId="1380517306" sldId="288"/>
        </pc:sldMkLst>
        <pc:picChg chg="del">
          <ac:chgData name="Roberto Gallardo" userId="49a044883f185952" providerId="LiveId" clId="{02E62311-3431-4225-A27C-34CEADE74758}" dt="2023-01-16T16:53:57.021" v="23" actId="478"/>
          <ac:picMkLst>
            <pc:docMk/>
            <pc:sldMk cId="1380517306" sldId="288"/>
            <ac:picMk id="5" creationId="{315C537A-B307-EABD-F0A8-70F3D38AF27D}"/>
          </ac:picMkLst>
        </pc:picChg>
        <pc:picChg chg="add mod">
          <ac:chgData name="Roberto Gallardo" userId="49a044883f185952" providerId="LiveId" clId="{02E62311-3431-4225-A27C-34CEADE74758}" dt="2023-01-16T17:50:27.870" v="296" actId="1076"/>
          <ac:picMkLst>
            <pc:docMk/>
            <pc:sldMk cId="1380517306" sldId="288"/>
            <ac:picMk id="8" creationId="{CE7F72BC-37F2-F863-8CD3-6EF2433ED31C}"/>
          </ac:picMkLst>
        </pc:picChg>
      </pc:sldChg>
      <pc:sldChg chg="addSp delSp modSp mod">
        <pc:chgData name="Roberto Gallardo" userId="49a044883f185952" providerId="LiveId" clId="{02E62311-3431-4225-A27C-34CEADE74758}" dt="2023-01-16T17:51:37.985" v="313" actId="1076"/>
        <pc:sldMkLst>
          <pc:docMk/>
          <pc:sldMk cId="1388671151" sldId="289"/>
        </pc:sldMkLst>
        <pc:picChg chg="del">
          <ac:chgData name="Roberto Gallardo" userId="49a044883f185952" providerId="LiveId" clId="{02E62311-3431-4225-A27C-34CEADE74758}" dt="2023-01-16T16:53:58.573" v="24" actId="478"/>
          <ac:picMkLst>
            <pc:docMk/>
            <pc:sldMk cId="1388671151" sldId="289"/>
            <ac:picMk id="5" creationId="{671A475F-205F-0708-35EE-7704CA8CC6A5}"/>
          </ac:picMkLst>
        </pc:picChg>
        <pc:picChg chg="add mod">
          <ac:chgData name="Roberto Gallardo" userId="49a044883f185952" providerId="LiveId" clId="{02E62311-3431-4225-A27C-34CEADE74758}" dt="2023-01-16T17:51:37.985" v="313" actId="1076"/>
          <ac:picMkLst>
            <pc:docMk/>
            <pc:sldMk cId="1388671151" sldId="289"/>
            <ac:picMk id="8" creationId="{F3FE0AB7-122D-79DA-B552-C089EEBD7C92}"/>
          </ac:picMkLst>
        </pc:picChg>
      </pc:sldChg>
      <pc:sldChg chg="addSp delSp modSp mod">
        <pc:chgData name="Roberto Gallardo" userId="49a044883f185952" providerId="LiveId" clId="{02E62311-3431-4225-A27C-34CEADE74758}" dt="2023-01-16T17:53:59.710" v="348" actId="1076"/>
        <pc:sldMkLst>
          <pc:docMk/>
          <pc:sldMk cId="2355376039" sldId="290"/>
        </pc:sldMkLst>
        <pc:picChg chg="add mod">
          <ac:chgData name="Roberto Gallardo" userId="49a044883f185952" providerId="LiveId" clId="{02E62311-3431-4225-A27C-34CEADE74758}" dt="2023-01-16T17:53:59.710" v="348" actId="1076"/>
          <ac:picMkLst>
            <pc:docMk/>
            <pc:sldMk cId="2355376039" sldId="290"/>
            <ac:picMk id="8" creationId="{292A7343-9E9A-2EB6-6F8A-D85E97F05D89}"/>
          </ac:picMkLst>
        </pc:picChg>
        <pc:picChg chg="del">
          <ac:chgData name="Roberto Gallardo" userId="49a044883f185952" providerId="LiveId" clId="{02E62311-3431-4225-A27C-34CEADE74758}" dt="2023-01-16T16:54:02.538" v="26" actId="478"/>
          <ac:picMkLst>
            <pc:docMk/>
            <pc:sldMk cId="2355376039" sldId="290"/>
            <ac:picMk id="9" creationId="{9E051D75-6DDE-0567-3E39-C2B074D0095A}"/>
          </ac:picMkLst>
        </pc:picChg>
      </pc:sldChg>
      <pc:sldChg chg="addSp delSp modSp mod">
        <pc:chgData name="Roberto Gallardo" userId="49a044883f185952" providerId="LiveId" clId="{02E62311-3431-4225-A27C-34CEADE74758}" dt="2023-01-16T17:55:12.035" v="366" actId="1076"/>
        <pc:sldMkLst>
          <pc:docMk/>
          <pc:sldMk cId="3757257295" sldId="291"/>
        </pc:sldMkLst>
        <pc:picChg chg="del">
          <ac:chgData name="Roberto Gallardo" userId="49a044883f185952" providerId="LiveId" clId="{02E62311-3431-4225-A27C-34CEADE74758}" dt="2023-01-16T16:54:04.025" v="27" actId="478"/>
          <ac:picMkLst>
            <pc:docMk/>
            <pc:sldMk cId="3757257295" sldId="291"/>
            <ac:picMk id="7" creationId="{E6A0B221-42D4-1C8E-4990-FD0957B57556}"/>
          </ac:picMkLst>
        </pc:picChg>
        <pc:picChg chg="add mod">
          <ac:chgData name="Roberto Gallardo" userId="49a044883f185952" providerId="LiveId" clId="{02E62311-3431-4225-A27C-34CEADE74758}" dt="2023-01-16T17:55:12.035" v="366" actId="1076"/>
          <ac:picMkLst>
            <pc:docMk/>
            <pc:sldMk cId="3757257295" sldId="291"/>
            <ac:picMk id="8" creationId="{348A5F9E-6780-2EBB-936C-EA6FBBA46953}"/>
          </ac:picMkLst>
        </pc:picChg>
      </pc:sldChg>
      <pc:sldChg chg="addSp delSp modSp mod">
        <pc:chgData name="Roberto Gallardo" userId="49a044883f185952" providerId="LiveId" clId="{02E62311-3431-4225-A27C-34CEADE74758}" dt="2023-01-16T17:48:15.643" v="277" actId="1076"/>
        <pc:sldMkLst>
          <pc:docMk/>
          <pc:sldMk cId="1259856727" sldId="292"/>
        </pc:sldMkLst>
        <pc:picChg chg="del">
          <ac:chgData name="Roberto Gallardo" userId="49a044883f185952" providerId="LiveId" clId="{02E62311-3431-4225-A27C-34CEADE74758}" dt="2023-01-16T16:53:53.161" v="22" actId="478"/>
          <ac:picMkLst>
            <pc:docMk/>
            <pc:sldMk cId="1259856727" sldId="292"/>
            <ac:picMk id="5" creationId="{7991B787-2955-26E5-638C-03EB53054716}"/>
          </ac:picMkLst>
        </pc:picChg>
        <pc:picChg chg="add mod">
          <ac:chgData name="Roberto Gallardo" userId="49a044883f185952" providerId="LiveId" clId="{02E62311-3431-4225-A27C-34CEADE74758}" dt="2023-01-16T17:48:15.643" v="277" actId="1076"/>
          <ac:picMkLst>
            <pc:docMk/>
            <pc:sldMk cId="1259856727" sldId="292"/>
            <ac:picMk id="8" creationId="{9B864A74-4648-DD29-217B-8593D0F156D2}"/>
          </ac:picMkLst>
        </pc:picChg>
      </pc:sldChg>
      <pc:sldChg chg="addSp delSp modSp mod">
        <pc:chgData name="Roberto Gallardo" userId="49a044883f185952" providerId="LiveId" clId="{02E62311-3431-4225-A27C-34CEADE74758}" dt="2023-01-16T17:18:09.171" v="138" actId="1076"/>
        <pc:sldMkLst>
          <pc:docMk/>
          <pc:sldMk cId="3324519687" sldId="293"/>
        </pc:sldMkLst>
        <pc:picChg chg="del">
          <ac:chgData name="Roberto Gallardo" userId="49a044883f185952" providerId="LiveId" clId="{02E62311-3431-4225-A27C-34CEADE74758}" dt="2023-01-16T16:53:37.906" v="14" actId="478"/>
          <ac:picMkLst>
            <pc:docMk/>
            <pc:sldMk cId="3324519687" sldId="293"/>
            <ac:picMk id="7" creationId="{343C37E9-F1BB-1C21-F347-49E123FD807D}"/>
          </ac:picMkLst>
        </pc:picChg>
        <pc:picChg chg="add mod">
          <ac:chgData name="Roberto Gallardo" userId="49a044883f185952" providerId="LiveId" clId="{02E62311-3431-4225-A27C-34CEADE74758}" dt="2023-01-16T17:18:09.171" v="138" actId="1076"/>
          <ac:picMkLst>
            <pc:docMk/>
            <pc:sldMk cId="3324519687" sldId="293"/>
            <ac:picMk id="8" creationId="{D6B83BAD-4EC0-3C11-9371-DD4743DFD5F4}"/>
          </ac:picMkLst>
        </pc:picChg>
      </pc:sldChg>
      <pc:sldChg chg="addSp delSp modSp mod">
        <pc:chgData name="Roberto Gallardo" userId="49a044883f185952" providerId="LiveId" clId="{02E62311-3431-4225-A27C-34CEADE74758}" dt="2023-01-16T17:15:16.018" v="103" actId="1076"/>
        <pc:sldMkLst>
          <pc:docMk/>
          <pc:sldMk cId="3256182630" sldId="295"/>
        </pc:sldMkLst>
        <pc:picChg chg="add mod">
          <ac:chgData name="Roberto Gallardo" userId="49a044883f185952" providerId="LiveId" clId="{02E62311-3431-4225-A27C-34CEADE74758}" dt="2023-01-16T17:15:16.018" v="103" actId="1076"/>
          <ac:picMkLst>
            <pc:docMk/>
            <pc:sldMk cId="3256182630" sldId="295"/>
            <ac:picMk id="6" creationId="{6A9B2405-F879-552B-AA8A-22E25C957211}"/>
          </ac:picMkLst>
        </pc:picChg>
        <pc:picChg chg="del">
          <ac:chgData name="Roberto Gallardo" userId="49a044883f185952" providerId="LiveId" clId="{02E62311-3431-4225-A27C-34CEADE74758}" dt="2023-01-16T16:53:32.606" v="12" actId="478"/>
          <ac:picMkLst>
            <pc:docMk/>
            <pc:sldMk cId="3256182630" sldId="295"/>
            <ac:picMk id="10" creationId="{D24F2621-9537-754E-8330-EDA9970A38CE}"/>
          </ac:picMkLst>
        </pc:picChg>
      </pc:sldChg>
      <pc:sldChg chg="addSp delSp modSp mod">
        <pc:chgData name="Roberto Gallardo" userId="49a044883f185952" providerId="LiveId" clId="{02E62311-3431-4225-A27C-34CEADE74758}" dt="2023-01-16T17:16:18.984" v="120" actId="1076"/>
        <pc:sldMkLst>
          <pc:docMk/>
          <pc:sldMk cId="4057156843" sldId="296"/>
        </pc:sldMkLst>
        <pc:picChg chg="del">
          <ac:chgData name="Roberto Gallardo" userId="49a044883f185952" providerId="LiveId" clId="{02E62311-3431-4225-A27C-34CEADE74758}" dt="2023-01-16T16:53:36.498" v="13" actId="478"/>
          <ac:picMkLst>
            <pc:docMk/>
            <pc:sldMk cId="4057156843" sldId="296"/>
            <ac:picMk id="6" creationId="{4E5D142A-BA43-1AC6-1399-15E707652433}"/>
          </ac:picMkLst>
        </pc:picChg>
        <pc:picChg chg="add mod">
          <ac:chgData name="Roberto Gallardo" userId="49a044883f185952" providerId="LiveId" clId="{02E62311-3431-4225-A27C-34CEADE74758}" dt="2023-01-16T17:16:18.984" v="120" actId="1076"/>
          <ac:picMkLst>
            <pc:docMk/>
            <pc:sldMk cId="4057156843" sldId="296"/>
            <ac:picMk id="7" creationId="{EC92559A-9192-C8D2-3961-A09CF0C86019}"/>
          </ac:picMkLst>
        </pc:picChg>
      </pc:sldChg>
      <pc:sldChg chg="addSp delSp modSp mod">
        <pc:chgData name="Roberto Gallardo" userId="49a044883f185952" providerId="LiveId" clId="{02E62311-3431-4225-A27C-34CEADE74758}" dt="2023-01-16T17:13:55.851" v="84" actId="1076"/>
        <pc:sldMkLst>
          <pc:docMk/>
          <pc:sldMk cId="2080110827" sldId="297"/>
        </pc:sldMkLst>
        <pc:picChg chg="del">
          <ac:chgData name="Roberto Gallardo" userId="49a044883f185952" providerId="LiveId" clId="{02E62311-3431-4225-A27C-34CEADE74758}" dt="2023-01-16T16:53:30.443" v="11" actId="478"/>
          <ac:picMkLst>
            <pc:docMk/>
            <pc:sldMk cId="2080110827" sldId="297"/>
            <ac:picMk id="6" creationId="{C7E3F7D3-EFB9-87FF-79A9-2A968B7EB5AA}"/>
          </ac:picMkLst>
        </pc:picChg>
        <pc:picChg chg="add mod">
          <ac:chgData name="Roberto Gallardo" userId="49a044883f185952" providerId="LiveId" clId="{02E62311-3431-4225-A27C-34CEADE74758}" dt="2023-01-16T17:13:55.851" v="84" actId="1076"/>
          <ac:picMkLst>
            <pc:docMk/>
            <pc:sldMk cId="2080110827" sldId="297"/>
            <ac:picMk id="7" creationId="{ECDD200D-BA62-C2CB-B651-79A4ECAEADFF}"/>
          </ac:picMkLst>
        </pc:picChg>
      </pc:sldChg>
      <pc:sldChg chg="addSp delSp modSp mod">
        <pc:chgData name="Roberto Gallardo" userId="49a044883f185952" providerId="LiveId" clId="{02E62311-3431-4225-A27C-34CEADE74758}" dt="2023-01-16T17:13:31.844" v="76" actId="1076"/>
        <pc:sldMkLst>
          <pc:docMk/>
          <pc:sldMk cId="1532666867" sldId="298"/>
        </pc:sldMkLst>
        <pc:picChg chg="add mod">
          <ac:chgData name="Roberto Gallardo" userId="49a044883f185952" providerId="LiveId" clId="{02E62311-3431-4225-A27C-34CEADE74758}" dt="2023-01-16T17:13:31.844" v="76" actId="1076"/>
          <ac:picMkLst>
            <pc:docMk/>
            <pc:sldMk cId="1532666867" sldId="298"/>
            <ac:picMk id="6" creationId="{8BDD2F68-198D-8364-A6DE-C0752DEE11DC}"/>
          </ac:picMkLst>
        </pc:picChg>
        <pc:picChg chg="del">
          <ac:chgData name="Roberto Gallardo" userId="49a044883f185952" providerId="LiveId" clId="{02E62311-3431-4225-A27C-34CEADE74758}" dt="2023-01-16T16:53:29.113" v="10" actId="478"/>
          <ac:picMkLst>
            <pc:docMk/>
            <pc:sldMk cId="1532666867" sldId="298"/>
            <ac:picMk id="9" creationId="{33A38FA1-243E-FE08-295B-B9072BCBB366}"/>
          </ac:picMkLst>
        </pc:picChg>
      </pc:sldChg>
      <pc:sldChg chg="addSp delSp modSp mod">
        <pc:chgData name="Roberto Gallardo" userId="49a044883f185952" providerId="LiveId" clId="{02E62311-3431-4225-A27C-34CEADE74758}" dt="2023-01-16T17:52:39.279" v="330" actId="1076"/>
        <pc:sldMkLst>
          <pc:docMk/>
          <pc:sldMk cId="1951376777" sldId="299"/>
        </pc:sldMkLst>
        <pc:picChg chg="add mod">
          <ac:chgData name="Roberto Gallardo" userId="49a044883f185952" providerId="LiveId" clId="{02E62311-3431-4225-A27C-34CEADE74758}" dt="2023-01-16T17:52:39.279" v="330" actId="1076"/>
          <ac:picMkLst>
            <pc:docMk/>
            <pc:sldMk cId="1951376777" sldId="299"/>
            <ac:picMk id="5" creationId="{CB9F2603-C485-DCF5-9F11-C81F07C6BB92}"/>
          </ac:picMkLst>
        </pc:picChg>
        <pc:picChg chg="del">
          <ac:chgData name="Roberto Gallardo" userId="49a044883f185952" providerId="LiveId" clId="{02E62311-3431-4225-A27C-34CEADE74758}" dt="2023-01-16T16:54:00.474" v="25" actId="478"/>
          <ac:picMkLst>
            <pc:docMk/>
            <pc:sldMk cId="1951376777" sldId="299"/>
            <ac:picMk id="8" creationId="{99F71FF4-9B01-9B33-1C81-34C03D3196F9}"/>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United States</c:v>
                </c:pt>
              </c:strCache>
            </c:strRef>
          </c:tx>
          <c:spPr>
            <a:ln w="38100" cap="rnd">
              <a:solidFill>
                <a:schemeClr val="accent1"/>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B$2:$B$33</c:f>
              <c:numCache>
                <c:formatCode>0.00</c:formatCode>
                <c:ptCount val="32"/>
                <c:pt idx="0">
                  <c:v>1</c:v>
                </c:pt>
                <c:pt idx="1">
                  <c:v>1.0168597473444223</c:v>
                </c:pt>
                <c:pt idx="2">
                  <c:v>1.0310625322888316</c:v>
                </c:pt>
                <c:pt idx="3">
                  <c:v>1.0447467263306138</c:v>
                </c:pt>
                <c:pt idx="4">
                  <c:v>1.0576386117440195</c:v>
                </c:pt>
                <c:pt idx="5">
                  <c:v>1.0703107865886772</c:v>
                </c:pt>
                <c:pt idx="6">
                  <c:v>1.0828353461584226</c:v>
                </c:pt>
                <c:pt idx="7">
                  <c:v>1.0959097971466905</c:v>
                </c:pt>
                <c:pt idx="8">
                  <c:v>1.1088016705013384</c:v>
                </c:pt>
                <c:pt idx="9">
                  <c:v>1.1216083447119103</c:v>
                </c:pt>
                <c:pt idx="10">
                  <c:v>1.1341633928411865</c:v>
                </c:pt>
                <c:pt idx="11">
                  <c:v>1.145755046704735</c:v>
                </c:pt>
                <c:pt idx="12">
                  <c:v>1.1565919710490769</c:v>
                </c:pt>
                <c:pt idx="13">
                  <c:v>1.166626662407299</c:v>
                </c:pt>
                <c:pt idx="14">
                  <c:v>1.17745582091156</c:v>
                </c:pt>
                <c:pt idx="15">
                  <c:v>1.1882376809477919</c:v>
                </c:pt>
                <c:pt idx="16">
                  <c:v>1.199546110764788</c:v>
                </c:pt>
                <c:pt idx="17">
                  <c:v>1.2114513687055988</c:v>
                </c:pt>
                <c:pt idx="18">
                  <c:v>1.222640959463593</c:v>
                </c:pt>
                <c:pt idx="19">
                  <c:v>1.2326048980696911</c:v>
                </c:pt>
                <c:pt idx="20">
                  <c:v>1.2433450267644532</c:v>
                </c:pt>
                <c:pt idx="21">
                  <c:v>1.2523296374660655</c:v>
                </c:pt>
                <c:pt idx="22">
                  <c:v>1.2614706422183335</c:v>
                </c:pt>
                <c:pt idx="23">
                  <c:v>1.2701639012705759</c:v>
                </c:pt>
                <c:pt idx="24">
                  <c:v>1.2794382638263446</c:v>
                </c:pt>
                <c:pt idx="25">
                  <c:v>1.2888206005002567</c:v>
                </c:pt>
                <c:pt idx="26">
                  <c:v>1.2980903606300978</c:v>
                </c:pt>
                <c:pt idx="27">
                  <c:v>1.3063073108044598</c:v>
                </c:pt>
                <c:pt idx="28">
                  <c:v>1.3131484933695443</c:v>
                </c:pt>
                <c:pt idx="29">
                  <c:v>1.3193869792153079</c:v>
                </c:pt>
                <c:pt idx="30">
                  <c:v>1.3324970879506552</c:v>
                </c:pt>
                <c:pt idx="31">
                  <c:v>1.3340754386728915</c:v>
                </c:pt>
              </c:numCache>
            </c:numRef>
          </c:val>
          <c:smooth val="0"/>
          <c:extLst>
            <c:ext xmlns:c16="http://schemas.microsoft.com/office/drawing/2014/chart" uri="{C3380CC4-5D6E-409C-BE32-E72D297353CC}">
              <c16:uniqueId val="{00000000-DB59-4D1E-94C4-FDDF6616C3B1}"/>
            </c:ext>
          </c:extLst>
        </c:ser>
        <c:ser>
          <c:idx val="1"/>
          <c:order val="1"/>
          <c:tx>
            <c:strRef>
              <c:f>Sheet1!$C$1</c:f>
              <c:strCache>
                <c:ptCount val="1"/>
                <c:pt idx="0">
                  <c:v>North Carolina</c:v>
                </c:pt>
              </c:strCache>
            </c:strRef>
          </c:tx>
          <c:spPr>
            <a:ln w="38100" cap="rnd">
              <a:solidFill>
                <a:schemeClr val="accent2"/>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C$2:$C$33</c:f>
              <c:numCache>
                <c:formatCode>0.00</c:formatCode>
                <c:ptCount val="32"/>
                <c:pt idx="0">
                  <c:v>1</c:v>
                </c:pt>
                <c:pt idx="1">
                  <c:v>1.0228923016056817</c:v>
                </c:pt>
                <c:pt idx="2">
                  <c:v>1.0399198003512429</c:v>
                </c:pt>
                <c:pt idx="3">
                  <c:v>1.0618730821560909</c:v>
                </c:pt>
                <c:pt idx="4">
                  <c:v>1.0836719714952909</c:v>
                </c:pt>
                <c:pt idx="5">
                  <c:v>1.107385086170295</c:v>
                </c:pt>
                <c:pt idx="6">
                  <c:v>1.1309052102632391</c:v>
                </c:pt>
                <c:pt idx="7">
                  <c:v>1.1544493074050486</c:v>
                </c:pt>
                <c:pt idx="8">
                  <c:v>1.177411568096727</c:v>
                </c:pt>
                <c:pt idx="9">
                  <c:v>1.1985560987436312</c:v>
                </c:pt>
                <c:pt idx="10">
                  <c:v>1.2182911950459319</c:v>
                </c:pt>
                <c:pt idx="11">
                  <c:v>1.2367180262853172</c:v>
                </c:pt>
                <c:pt idx="12">
                  <c:v>1.2530976496159487</c:v>
                </c:pt>
                <c:pt idx="13">
                  <c:v>1.266472801596032</c:v>
                </c:pt>
                <c:pt idx="14">
                  <c:v>1.284278293625521</c:v>
                </c:pt>
                <c:pt idx="15">
                  <c:v>1.3050104576771653</c:v>
                </c:pt>
                <c:pt idx="16">
                  <c:v>1.3349292749826309</c:v>
                </c:pt>
                <c:pt idx="17">
                  <c:v>1.3641804654932839</c:v>
                </c:pt>
                <c:pt idx="18">
                  <c:v>1.3916559918750966</c:v>
                </c:pt>
                <c:pt idx="19">
                  <c:v>1.410807442440559</c:v>
                </c:pt>
                <c:pt idx="20">
                  <c:v>1.4435579442160722</c:v>
                </c:pt>
                <c:pt idx="21">
                  <c:v>1.4561127354485102</c:v>
                </c:pt>
                <c:pt idx="22">
                  <c:v>1.4699664437625444</c:v>
                </c:pt>
                <c:pt idx="23">
                  <c:v>1.4841180812876331</c:v>
                </c:pt>
                <c:pt idx="24">
                  <c:v>1.4976200341110855</c:v>
                </c:pt>
                <c:pt idx="25">
                  <c:v>1.5125103129342288</c:v>
                </c:pt>
                <c:pt idx="26">
                  <c:v>1.5310769115717153</c:v>
                </c:pt>
                <c:pt idx="27">
                  <c:v>1.5481814557762081</c:v>
                </c:pt>
                <c:pt idx="28">
                  <c:v>1.5652765012254901</c:v>
                </c:pt>
                <c:pt idx="29">
                  <c:v>1.5813292467577582</c:v>
                </c:pt>
                <c:pt idx="30">
                  <c:v>1.5766692780704801</c:v>
                </c:pt>
                <c:pt idx="31">
                  <c:v>1.5908397623320982</c:v>
                </c:pt>
              </c:numCache>
            </c:numRef>
          </c:val>
          <c:smooth val="0"/>
          <c:extLst>
            <c:ext xmlns:c16="http://schemas.microsoft.com/office/drawing/2014/chart" uri="{C3380CC4-5D6E-409C-BE32-E72D297353CC}">
              <c16:uniqueId val="{00000001-DB59-4D1E-94C4-FDDF6616C3B1}"/>
            </c:ext>
          </c:extLst>
        </c:ser>
        <c:ser>
          <c:idx val="2"/>
          <c:order val="2"/>
          <c:tx>
            <c:strRef>
              <c:f>Sheet1!$D$1</c:f>
              <c:strCache>
                <c:ptCount val="1"/>
                <c:pt idx="0">
                  <c:v>Triangle J</c:v>
                </c:pt>
              </c:strCache>
            </c:strRef>
          </c:tx>
          <c:spPr>
            <a:ln w="38100" cap="rnd">
              <a:solidFill>
                <a:schemeClr val="accent3"/>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D$2:$D$33</c:f>
              <c:numCache>
                <c:formatCode>0.00</c:formatCode>
                <c:ptCount val="32"/>
                <c:pt idx="0">
                  <c:v>1</c:v>
                </c:pt>
                <c:pt idx="1">
                  <c:v>1.0373745761388964</c:v>
                </c:pt>
                <c:pt idx="2">
                  <c:v>1.0699045607888369</c:v>
                </c:pt>
                <c:pt idx="3">
                  <c:v>1.1070070419481568</c:v>
                </c:pt>
                <c:pt idx="4">
                  <c:v>1.1450743220390429</c:v>
                </c:pt>
                <c:pt idx="5">
                  <c:v>1.1850115775871788</c:v>
                </c:pt>
                <c:pt idx="6">
                  <c:v>1.2246409647122081</c:v>
                </c:pt>
                <c:pt idx="7">
                  <c:v>1.2648850046397073</c:v>
                </c:pt>
                <c:pt idx="8">
                  <c:v>1.3050303965865631</c:v>
                </c:pt>
                <c:pt idx="9">
                  <c:v>1.3421859958893061</c:v>
                </c:pt>
                <c:pt idx="10">
                  <c:v>1.3789188181321492</c:v>
                </c:pt>
                <c:pt idx="11">
                  <c:v>1.4242437710846507</c:v>
                </c:pt>
                <c:pt idx="12">
                  <c:v>1.4613289075440772</c:v>
                </c:pt>
                <c:pt idx="13">
                  <c:v>1.4953602927785341</c:v>
                </c:pt>
                <c:pt idx="14">
                  <c:v>1.5316356485616907</c:v>
                </c:pt>
                <c:pt idx="15">
                  <c:v>1.5793996999366919</c:v>
                </c:pt>
                <c:pt idx="16">
                  <c:v>1.6418146025028402</c:v>
                </c:pt>
                <c:pt idx="17">
                  <c:v>1.705610576797995</c:v>
                </c:pt>
                <c:pt idx="18">
                  <c:v>1.7668113503716103</c:v>
                </c:pt>
                <c:pt idx="19">
                  <c:v>1.8160421129313411</c:v>
                </c:pt>
                <c:pt idx="20">
                  <c:v>1.8344209905558109</c:v>
                </c:pt>
                <c:pt idx="21">
                  <c:v>1.8694583683840811</c:v>
                </c:pt>
                <c:pt idx="22">
                  <c:v>1.9088676946292136</c:v>
                </c:pt>
                <c:pt idx="23">
                  <c:v>1.9468515033518632</c:v>
                </c:pt>
                <c:pt idx="24">
                  <c:v>1.9868809026181824</c:v>
                </c:pt>
                <c:pt idx="25">
                  <c:v>2.0284203748189649</c:v>
                </c:pt>
                <c:pt idx="26">
                  <c:v>2.0753984944800492</c:v>
                </c:pt>
                <c:pt idx="27">
                  <c:v>2.1169412188120615</c:v>
                </c:pt>
                <c:pt idx="28">
                  <c:v>2.1594845155191704</c:v>
                </c:pt>
                <c:pt idx="29">
                  <c:v>2.1986499319220529</c:v>
                </c:pt>
                <c:pt idx="30">
                  <c:v>2.239336261696832</c:v>
                </c:pt>
                <c:pt idx="31">
                  <c:v>2.2727063802478558</c:v>
                </c:pt>
              </c:numCache>
            </c:numRef>
          </c:val>
          <c:smooth val="0"/>
          <c:extLst>
            <c:ext xmlns:c16="http://schemas.microsoft.com/office/drawing/2014/chart" uri="{C3380CC4-5D6E-409C-BE32-E72D297353CC}">
              <c16:uniqueId val="{00000002-DB59-4D1E-94C4-FDDF6616C3B1}"/>
            </c:ext>
          </c:extLst>
        </c:ser>
        <c:dLbls>
          <c:showLegendKey val="0"/>
          <c:showVal val="0"/>
          <c:showCatName val="0"/>
          <c:showSerName val="0"/>
          <c:showPercent val="0"/>
          <c:showBubbleSize val="0"/>
        </c:dLbls>
        <c:smooth val="0"/>
        <c:axId val="979383072"/>
        <c:axId val="979383488"/>
      </c:lineChart>
      <c:catAx>
        <c:axId val="979383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min val="1"/>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Wake</c:v>
                </c:pt>
                <c:pt idx="1">
                  <c:v>Orange</c:v>
                </c:pt>
                <c:pt idx="2">
                  <c:v>Moore</c:v>
                </c:pt>
                <c:pt idx="3">
                  <c:v>Lee</c:v>
                </c:pt>
                <c:pt idx="4">
                  <c:v>Johnston</c:v>
                </c:pt>
                <c:pt idx="5">
                  <c:v>Durham</c:v>
                </c:pt>
                <c:pt idx="6">
                  <c:v>Chatham</c:v>
                </c:pt>
                <c:pt idx="7">
                  <c:v>Triangle J</c:v>
                </c:pt>
                <c:pt idx="8">
                  <c:v>North Carolina</c:v>
                </c:pt>
                <c:pt idx="9">
                  <c:v>United States</c:v>
                </c:pt>
              </c:strCache>
            </c:strRef>
          </c:cat>
          <c:val>
            <c:numRef>
              <c:f>Sheet1!$B$2:$B$11</c:f>
              <c:numCache>
                <c:formatCode>0.0</c:formatCode>
                <c:ptCount val="10"/>
                <c:pt idx="0">
                  <c:v>93.422583472786684</c:v>
                </c:pt>
                <c:pt idx="1">
                  <c:v>65.980927529994077</c:v>
                </c:pt>
                <c:pt idx="2">
                  <c:v>17.172881967772017</c:v>
                </c:pt>
                <c:pt idx="3">
                  <c:v>20.899107213399702</c:v>
                </c:pt>
                <c:pt idx="4">
                  <c:v>41.758989624951973</c:v>
                </c:pt>
                <c:pt idx="5">
                  <c:v>71.247687273152678</c:v>
                </c:pt>
                <c:pt idx="6">
                  <c:v>40.452251425575149</c:v>
                </c:pt>
                <c:pt idx="7">
                  <c:v>74.599999999999994</c:v>
                </c:pt>
                <c:pt idx="8">
                  <c:v>50.9</c:v>
                </c:pt>
                <c:pt idx="9">
                  <c:v>56.7</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Wake</c:v>
                </c:pt>
                <c:pt idx="1">
                  <c:v>Orange</c:v>
                </c:pt>
                <c:pt idx="2">
                  <c:v>Moore</c:v>
                </c:pt>
                <c:pt idx="3">
                  <c:v>Lee</c:v>
                </c:pt>
                <c:pt idx="4">
                  <c:v>Johnston</c:v>
                </c:pt>
                <c:pt idx="5">
                  <c:v>Durham</c:v>
                </c:pt>
                <c:pt idx="6">
                  <c:v>Chatham</c:v>
                </c:pt>
                <c:pt idx="7">
                  <c:v>Triangle J</c:v>
                </c:pt>
                <c:pt idx="8">
                  <c:v>North Carolina</c:v>
                </c:pt>
                <c:pt idx="9">
                  <c:v>United States</c:v>
                </c:pt>
              </c:strCache>
            </c:strRef>
          </c:cat>
          <c:val>
            <c:numRef>
              <c:f>Sheet1!$B$2:$B$11</c:f>
              <c:numCache>
                <c:formatCode>0.0</c:formatCode>
                <c:ptCount val="10"/>
                <c:pt idx="0">
                  <c:v>54.461710096422024</c:v>
                </c:pt>
                <c:pt idx="1">
                  <c:v>26.725668477968473</c:v>
                </c:pt>
                <c:pt idx="2">
                  <c:v>2.7906183881997855</c:v>
                </c:pt>
                <c:pt idx="3">
                  <c:v>2.7636880777435411</c:v>
                </c:pt>
                <c:pt idx="4">
                  <c:v>10.08430594586086</c:v>
                </c:pt>
                <c:pt idx="5">
                  <c:v>25.944100507029766</c:v>
                </c:pt>
                <c:pt idx="6">
                  <c:v>19.123025496493412</c:v>
                </c:pt>
                <c:pt idx="7">
                  <c:v>37.9</c:v>
                </c:pt>
                <c:pt idx="8">
                  <c:v>18</c:v>
                </c:pt>
                <c:pt idx="9">
                  <c:v>16</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Wake</c:v>
                </c:pt>
                <c:pt idx="1">
                  <c:v>Orange</c:v>
                </c:pt>
                <c:pt idx="2">
                  <c:v>Moore</c:v>
                </c:pt>
                <c:pt idx="3">
                  <c:v>Lee</c:v>
                </c:pt>
                <c:pt idx="4">
                  <c:v>Johnston</c:v>
                </c:pt>
                <c:pt idx="5">
                  <c:v>Durham</c:v>
                </c:pt>
                <c:pt idx="6">
                  <c:v>Chatham</c:v>
                </c:pt>
                <c:pt idx="7">
                  <c:v>Triangle J</c:v>
                </c:pt>
                <c:pt idx="8">
                  <c:v>North Carolina</c:v>
                </c:pt>
                <c:pt idx="9">
                  <c:v>United States</c:v>
                </c:pt>
              </c:strCache>
            </c:strRef>
          </c:cat>
          <c:val>
            <c:numRef>
              <c:f>Sheet1!$B$2:$B$11</c:f>
              <c:numCache>
                <c:formatCode>0.0</c:formatCode>
                <c:ptCount val="10"/>
                <c:pt idx="0">
                  <c:v>16.411754810033557</c:v>
                </c:pt>
                <c:pt idx="1">
                  <c:v>39.016516920428259</c:v>
                </c:pt>
                <c:pt idx="2">
                  <c:v>52.824210093555401</c:v>
                </c:pt>
                <c:pt idx="3">
                  <c:v>50.918859129335544</c:v>
                </c:pt>
                <c:pt idx="4">
                  <c:v>61.632692743947892</c:v>
                </c:pt>
                <c:pt idx="5">
                  <c:v>14.180517373542711</c:v>
                </c:pt>
                <c:pt idx="6">
                  <c:v>65.149389724294352</c:v>
                </c:pt>
                <c:pt idx="7">
                  <c:v>27.1</c:v>
                </c:pt>
                <c:pt idx="8">
                  <c:v>40.700000000000003</c:v>
                </c:pt>
                <c:pt idx="9">
                  <c:v>23.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Wake</c:v>
                </c:pt>
                <c:pt idx="1">
                  <c:v>Orange</c:v>
                </c:pt>
                <c:pt idx="2">
                  <c:v>Moore</c:v>
                </c:pt>
                <c:pt idx="3">
                  <c:v>Lee</c:v>
                </c:pt>
                <c:pt idx="4">
                  <c:v>Johnston</c:v>
                </c:pt>
                <c:pt idx="5">
                  <c:v>Durham</c:v>
                </c:pt>
                <c:pt idx="6">
                  <c:v>Chatham</c:v>
                </c:pt>
                <c:pt idx="7">
                  <c:v>Triangle J</c:v>
                </c:pt>
                <c:pt idx="8">
                  <c:v>North Carolina</c:v>
                </c:pt>
                <c:pt idx="9">
                  <c:v>United States</c:v>
                </c:pt>
              </c:strCache>
            </c:strRef>
          </c:cat>
          <c:val>
            <c:numRef>
              <c:f>Sheet1!$B$2:$B$11</c:f>
              <c:numCache>
                <c:formatCode>0.0</c:formatCode>
                <c:ptCount val="10"/>
                <c:pt idx="0">
                  <c:v>8.5740805407742862</c:v>
                </c:pt>
                <c:pt idx="1">
                  <c:v>8.0979271540772313</c:v>
                </c:pt>
                <c:pt idx="2">
                  <c:v>14.663229474979577</c:v>
                </c:pt>
                <c:pt idx="3">
                  <c:v>17.243113461600856</c:v>
                </c:pt>
                <c:pt idx="4">
                  <c:v>13.441339132174518</c:v>
                </c:pt>
                <c:pt idx="5">
                  <c:v>9.7482451382478974</c:v>
                </c:pt>
                <c:pt idx="6">
                  <c:v>13.49182923229667</c:v>
                </c:pt>
                <c:pt idx="7">
                  <c:v>10</c:v>
                </c:pt>
                <c:pt idx="8">
                  <c:v>13.2</c:v>
                </c:pt>
                <c:pt idx="9">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Wake</c:v>
                </c:pt>
                <c:pt idx="1">
                  <c:v>Orange</c:v>
                </c:pt>
                <c:pt idx="2">
                  <c:v>Moore</c:v>
                </c:pt>
                <c:pt idx="3">
                  <c:v>Lee</c:v>
                </c:pt>
                <c:pt idx="4">
                  <c:v>Johnston</c:v>
                </c:pt>
                <c:pt idx="5">
                  <c:v>Durham</c:v>
                </c:pt>
                <c:pt idx="6">
                  <c:v>Chatham</c:v>
                </c:pt>
                <c:pt idx="7">
                  <c:v>Triangle J</c:v>
                </c:pt>
                <c:pt idx="8">
                  <c:v>North Carolina</c:v>
                </c:pt>
                <c:pt idx="9">
                  <c:v>United States</c:v>
                </c:pt>
              </c:strCache>
            </c:strRef>
          </c:cat>
          <c:val>
            <c:numRef>
              <c:f>Sheet1!$B$2:$B$11</c:f>
              <c:numCache>
                <c:formatCode>0.0</c:formatCode>
                <c:ptCount val="10"/>
                <c:pt idx="0">
                  <c:v>6.0612787845795779</c:v>
                </c:pt>
                <c:pt idx="1">
                  <c:v>4.8303685735462576</c:v>
                </c:pt>
                <c:pt idx="2">
                  <c:v>12.502879442810876</c:v>
                </c:pt>
                <c:pt idx="3">
                  <c:v>8.4086818422445742</c:v>
                </c:pt>
                <c:pt idx="4">
                  <c:v>9.3352057545179576</c:v>
                </c:pt>
                <c:pt idx="5">
                  <c:v>5.4369666453915801</c:v>
                </c:pt>
                <c:pt idx="6">
                  <c:v>7.3374004067073368</c:v>
                </c:pt>
                <c:pt idx="7">
                  <c:v>6.6</c:v>
                </c:pt>
                <c:pt idx="8">
                  <c:v>8</c:v>
                </c:pt>
                <c:pt idx="9">
                  <c:v>6.9</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Wake</c:v>
                </c:pt>
                <c:pt idx="1">
                  <c:v>Orange</c:v>
                </c:pt>
                <c:pt idx="2">
                  <c:v>Moore</c:v>
                </c:pt>
                <c:pt idx="3">
                  <c:v>Lee</c:v>
                </c:pt>
                <c:pt idx="4">
                  <c:v>Johnston</c:v>
                </c:pt>
                <c:pt idx="5">
                  <c:v>Durham</c:v>
                </c:pt>
                <c:pt idx="6">
                  <c:v>Chatham</c:v>
                </c:pt>
                <c:pt idx="7">
                  <c:v>Triangle J</c:v>
                </c:pt>
                <c:pt idx="8">
                  <c:v>North Carolina</c:v>
                </c:pt>
                <c:pt idx="9">
                  <c:v>United States</c:v>
                </c:pt>
              </c:strCache>
            </c:strRef>
          </c:cat>
          <c:val>
            <c:numRef>
              <c:f>Sheet1!$B$2:$B$11</c:f>
              <c:numCache>
                <c:formatCode>0.0</c:formatCode>
                <c:ptCount val="10"/>
                <c:pt idx="0">
                  <c:v>41.196873346075016</c:v>
                </c:pt>
                <c:pt idx="1">
                  <c:v>31.09936488980567</c:v>
                </c:pt>
                <c:pt idx="2">
                  <c:v>23.615364335111238</c:v>
                </c:pt>
                <c:pt idx="3">
                  <c:v>42.631948433212074</c:v>
                </c:pt>
                <c:pt idx="4">
                  <c:v>34.123130796895708</c:v>
                </c:pt>
                <c:pt idx="5">
                  <c:v>57.435357618086748</c:v>
                </c:pt>
                <c:pt idx="6">
                  <c:v>28.861063007859329</c:v>
                </c:pt>
                <c:pt idx="7">
                  <c:v>41</c:v>
                </c:pt>
                <c:pt idx="8">
                  <c:v>37.9</c:v>
                </c:pt>
                <c:pt idx="9">
                  <c:v>4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Wake</c:v>
                </c:pt>
                <c:pt idx="1">
                  <c:v>Orange</c:v>
                </c:pt>
                <c:pt idx="2">
                  <c:v>Moore</c:v>
                </c:pt>
                <c:pt idx="3">
                  <c:v>Lee</c:v>
                </c:pt>
                <c:pt idx="4">
                  <c:v>Johnston</c:v>
                </c:pt>
                <c:pt idx="5">
                  <c:v>Durham</c:v>
                </c:pt>
                <c:pt idx="6">
                  <c:v>Chatham</c:v>
                </c:pt>
                <c:pt idx="7">
                  <c:v>Triangle J</c:v>
                </c:pt>
                <c:pt idx="8">
                  <c:v>North Carolina</c:v>
                </c:pt>
                <c:pt idx="9">
                  <c:v>United States</c:v>
                </c:pt>
              </c:strCache>
            </c:strRef>
          </c:cat>
          <c:val>
            <c:numRef>
              <c:f>Sheet1!$B$2:$B$11</c:f>
              <c:numCache>
                <c:formatCode>0.0</c:formatCode>
                <c:ptCount val="10"/>
                <c:pt idx="0">
                  <c:v>8.5344162778727259</c:v>
                </c:pt>
                <c:pt idx="1">
                  <c:v>12.555868600002951</c:v>
                </c:pt>
                <c:pt idx="2">
                  <c:v>9.6860635293632633</c:v>
                </c:pt>
                <c:pt idx="3">
                  <c:v>15.142871114443594</c:v>
                </c:pt>
                <c:pt idx="4">
                  <c:v>12.547497622131621</c:v>
                </c:pt>
                <c:pt idx="5">
                  <c:v>13.181893874832252</c:v>
                </c:pt>
                <c:pt idx="6">
                  <c:v>10.513562630409908</c:v>
                </c:pt>
                <c:pt idx="7">
                  <c:v>10.3</c:v>
                </c:pt>
                <c:pt idx="8">
                  <c:v>13.7</c:v>
                </c:pt>
                <c:pt idx="9">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Wake</c:v>
                </c:pt>
                <c:pt idx="1">
                  <c:v>Orange</c:v>
                </c:pt>
                <c:pt idx="2">
                  <c:v>Moore</c:v>
                </c:pt>
                <c:pt idx="3">
                  <c:v>Lee</c:v>
                </c:pt>
                <c:pt idx="4">
                  <c:v>Johnston</c:v>
                </c:pt>
                <c:pt idx="5">
                  <c:v>Durham</c:v>
                </c:pt>
                <c:pt idx="6">
                  <c:v>Chatham</c:v>
                </c:pt>
                <c:pt idx="7">
                  <c:v>Triangle J</c:v>
                </c:pt>
                <c:pt idx="8">
                  <c:v>North Carolina</c:v>
                </c:pt>
                <c:pt idx="9">
                  <c:v>United States</c:v>
                </c:pt>
              </c:strCache>
            </c:strRef>
          </c:cat>
          <c:val>
            <c:numRef>
              <c:f>Sheet1!$B$2:$B$11</c:f>
              <c:numCache>
                <c:formatCode>0.0</c:formatCode>
                <c:ptCount val="10"/>
                <c:pt idx="0">
                  <c:v>30.455247498483928</c:v>
                </c:pt>
                <c:pt idx="1">
                  <c:v>36.905609404377273</c:v>
                </c:pt>
                <c:pt idx="2">
                  <c:v>49.523340312846408</c:v>
                </c:pt>
                <c:pt idx="3">
                  <c:v>41.430493650660161</c:v>
                </c:pt>
                <c:pt idx="4">
                  <c:v>36.83083511777302</c:v>
                </c:pt>
                <c:pt idx="5">
                  <c:v>32.037028667841696</c:v>
                </c:pt>
                <c:pt idx="6">
                  <c:v>53.909984067976637</c:v>
                </c:pt>
                <c:pt idx="7">
                  <c:v>34</c:v>
                </c:pt>
                <c:pt idx="8">
                  <c:v>39.700000000000003</c:v>
                </c:pt>
                <c:pt idx="9">
                  <c:v>40.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Wake</c:v>
                </c:pt>
                <c:pt idx="1">
                  <c:v>Orange</c:v>
                </c:pt>
                <c:pt idx="2">
                  <c:v>Moore</c:v>
                </c:pt>
                <c:pt idx="3">
                  <c:v>Lee</c:v>
                </c:pt>
                <c:pt idx="4">
                  <c:v>Johnston</c:v>
                </c:pt>
                <c:pt idx="5">
                  <c:v>Durham</c:v>
                </c:pt>
                <c:pt idx="6">
                  <c:v>Chatham</c:v>
                </c:pt>
                <c:pt idx="7">
                  <c:v>Triangle J</c:v>
                </c:pt>
                <c:pt idx="8">
                  <c:v>North Carolina</c:v>
                </c:pt>
                <c:pt idx="9">
                  <c:v>United States</c:v>
                </c:pt>
              </c:strCache>
            </c:strRef>
          </c:cat>
          <c:val>
            <c:numRef>
              <c:f>Sheet1!$B$2:$B$11</c:f>
              <c:numCache>
                <c:formatCode>0.0</c:formatCode>
                <c:ptCount val="10"/>
                <c:pt idx="0">
                  <c:v>34.064977116813246</c:v>
                </c:pt>
                <c:pt idx="1">
                  <c:v>27.728749794644326</c:v>
                </c:pt>
                <c:pt idx="2">
                  <c:v>26.100980416307429</c:v>
                </c:pt>
                <c:pt idx="3">
                  <c:v>34.733542174754007</c:v>
                </c:pt>
                <c:pt idx="4">
                  <c:v>37.815282247999889</c:v>
                </c:pt>
                <c:pt idx="5">
                  <c:v>27.00271463219897</c:v>
                </c:pt>
                <c:pt idx="6">
                  <c:v>27.143730084970791</c:v>
                </c:pt>
                <c:pt idx="7">
                  <c:v>32.1</c:v>
                </c:pt>
                <c:pt idx="8">
                  <c:v>30</c:v>
                </c:pt>
                <c:pt idx="9">
                  <c:v>3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Wake</c:v>
                </c:pt>
                <c:pt idx="1">
                  <c:v>Orange</c:v>
                </c:pt>
                <c:pt idx="2">
                  <c:v>Moore</c:v>
                </c:pt>
                <c:pt idx="3">
                  <c:v>Lee</c:v>
                </c:pt>
                <c:pt idx="4">
                  <c:v>Johnston</c:v>
                </c:pt>
                <c:pt idx="5">
                  <c:v>Durham</c:v>
                </c:pt>
                <c:pt idx="6">
                  <c:v>Chatham</c:v>
                </c:pt>
                <c:pt idx="7">
                  <c:v>Triangle J</c:v>
                </c:pt>
                <c:pt idx="8">
                  <c:v>North Carolina</c:v>
                </c:pt>
                <c:pt idx="9">
                  <c:v>United States</c:v>
                </c:pt>
              </c:strCache>
            </c:strRef>
          </c:cat>
          <c:val>
            <c:numRef>
              <c:f>Sheet1!$B$2:$B$11</c:f>
              <c:numCache>
                <c:formatCode>0.0</c:formatCode>
                <c:ptCount val="10"/>
                <c:pt idx="0">
                  <c:v>18.077243784111584</c:v>
                </c:pt>
                <c:pt idx="1">
                  <c:v>16.424803314896959</c:v>
                </c:pt>
                <c:pt idx="2">
                  <c:v>7.9073777558812663</c:v>
                </c:pt>
                <c:pt idx="3">
                  <c:v>16.466234967622572</c:v>
                </c:pt>
                <c:pt idx="4">
                  <c:v>12.837456155331642</c:v>
                </c:pt>
                <c:pt idx="5">
                  <c:v>17.599162410930838</c:v>
                </c:pt>
                <c:pt idx="6">
                  <c:v>13.280005310674456</c:v>
                </c:pt>
                <c:pt idx="7">
                  <c:v>16.600000000000001</c:v>
                </c:pt>
                <c:pt idx="8">
                  <c:v>12</c:v>
                </c:pt>
                <c:pt idx="9">
                  <c:v>22.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White, Non-Hispanic</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Triangle J</c:v>
                </c:pt>
              </c:strCache>
            </c:strRef>
          </c:cat>
          <c:val>
            <c:numRef>
              <c:f>Sheet1!$B$2:$B$4</c:f>
              <c:numCache>
                <c:formatCode>#,##0.0</c:formatCode>
                <c:ptCount val="3"/>
                <c:pt idx="0">
                  <c:v>59.446533948645595</c:v>
                </c:pt>
                <c:pt idx="1">
                  <c:v>62.061419373856829</c:v>
                </c:pt>
                <c:pt idx="2">
                  <c:v>58.977786477812366</c:v>
                </c:pt>
              </c:numCache>
            </c:numRef>
          </c:val>
          <c:extLst>
            <c:ext xmlns:c16="http://schemas.microsoft.com/office/drawing/2014/chart" uri="{C3380CC4-5D6E-409C-BE32-E72D297353CC}">
              <c16:uniqueId val="{00000000-D199-47A7-AEEB-A6EADA37F0F5}"/>
            </c:ext>
          </c:extLst>
        </c:ser>
        <c:ser>
          <c:idx val="1"/>
          <c:order val="1"/>
          <c:tx>
            <c:strRef>
              <c:f>Sheet1!$C$1</c:f>
              <c:strCache>
                <c:ptCount val="1"/>
                <c:pt idx="0">
                  <c:v>Black, Non-Hispanic</c:v>
                </c:pt>
              </c:strCache>
            </c:strRef>
          </c:tx>
          <c:spPr>
            <a:solidFill>
              <a:schemeClr val="accent2"/>
            </a:solidFill>
            <a:ln>
              <a:noFill/>
            </a:ln>
            <a:effectLst/>
          </c:spPr>
          <c:invertIfNegative val="0"/>
          <c:dLbls>
            <c:dLbl>
              <c:idx val="2"/>
              <c:layout>
                <c:manualLayout>
                  <c:x val="-8.7051142546245922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18E-4A12-9DD7-920EFA6DB37B}"/>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Triangle J</c:v>
                </c:pt>
              </c:strCache>
            </c:strRef>
          </c:cat>
          <c:val>
            <c:numRef>
              <c:f>Sheet1!$C$2:$C$4</c:f>
              <c:numCache>
                <c:formatCode>#,##0.0</c:formatCode>
                <c:ptCount val="3"/>
                <c:pt idx="0">
                  <c:v>12.190838839052297</c:v>
                </c:pt>
                <c:pt idx="1">
                  <c:v>20.840642568328686</c:v>
                </c:pt>
                <c:pt idx="2">
                  <c:v>20.103259768185715</c:v>
                </c:pt>
              </c:numCache>
            </c:numRef>
          </c:val>
          <c:extLst>
            <c:ext xmlns:c16="http://schemas.microsoft.com/office/drawing/2014/chart" uri="{C3380CC4-5D6E-409C-BE32-E72D297353CC}">
              <c16:uniqueId val="{00000001-D199-47A7-AEEB-A6EADA37F0F5}"/>
            </c:ext>
          </c:extLst>
        </c:ser>
        <c:ser>
          <c:idx val="2"/>
          <c:order val="2"/>
          <c:tx>
            <c:strRef>
              <c:f>Sheet1!$D$1</c:f>
              <c:strCache>
                <c:ptCount val="1"/>
                <c:pt idx="0">
                  <c:v>Asian, Non-Hispani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Triangle J</c:v>
                </c:pt>
              </c:strCache>
            </c:strRef>
          </c:cat>
          <c:val>
            <c:numRef>
              <c:f>Sheet1!$D$2:$D$4</c:f>
              <c:numCache>
                <c:formatCode>#,##0.0</c:formatCode>
                <c:ptCount val="3"/>
                <c:pt idx="0">
                  <c:v>5.6273166828741399</c:v>
                </c:pt>
                <c:pt idx="1">
                  <c:v>3.0106138484127842</c:v>
                </c:pt>
                <c:pt idx="2">
                  <c:v>5.6786955602047051</c:v>
                </c:pt>
              </c:numCache>
            </c:numRef>
          </c:val>
          <c:extLst>
            <c:ext xmlns:c16="http://schemas.microsoft.com/office/drawing/2014/chart" uri="{C3380CC4-5D6E-409C-BE32-E72D297353CC}">
              <c16:uniqueId val="{00000002-D199-47A7-AEEB-A6EADA37F0F5}"/>
            </c:ext>
          </c:extLst>
        </c:ser>
        <c:ser>
          <c:idx val="3"/>
          <c:order val="3"/>
          <c:tx>
            <c:strRef>
              <c:f>Sheet1!$E$1</c:f>
              <c:strCache>
                <c:ptCount val="1"/>
                <c:pt idx="0">
                  <c:v>Hispanic</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Triangle J</c:v>
                </c:pt>
              </c:strCache>
            </c:strRef>
          </c:cat>
          <c:val>
            <c:numRef>
              <c:f>Sheet1!$E$2:$E$4</c:f>
              <c:numCache>
                <c:formatCode>#,##0.0</c:formatCode>
                <c:ptCount val="3"/>
                <c:pt idx="0">
                  <c:v>18.441695441790866</c:v>
                </c:pt>
                <c:pt idx="1">
                  <c:v>9.8073487256031662</c:v>
                </c:pt>
                <c:pt idx="2">
                  <c:v>11.326968392412759</c:v>
                </c:pt>
              </c:numCache>
            </c:numRef>
          </c:val>
          <c:extLst>
            <c:ext xmlns:c16="http://schemas.microsoft.com/office/drawing/2014/chart" uri="{C3380CC4-5D6E-409C-BE32-E72D297353CC}">
              <c16:uniqueId val="{00000003-D199-47A7-AEEB-A6EADA37F0F5}"/>
            </c:ext>
          </c:extLst>
        </c:ser>
        <c:ser>
          <c:idx val="4"/>
          <c:order val="4"/>
          <c:tx>
            <c:strRef>
              <c:f>Sheet1!$F$1</c:f>
              <c:strCache>
                <c:ptCount val="1"/>
                <c:pt idx="0">
                  <c:v>Oth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Triangle J</c:v>
                </c:pt>
              </c:strCache>
            </c:strRef>
          </c:cat>
          <c:val>
            <c:numRef>
              <c:f>Sheet1!$F$2:$F$4</c:f>
              <c:numCache>
                <c:formatCode>#,##0.0</c:formatCode>
                <c:ptCount val="3"/>
                <c:pt idx="0">
                  <c:v>4.2936150876370931</c:v>
                </c:pt>
                <c:pt idx="1">
                  <c:v>4.2799754837985375</c:v>
                </c:pt>
                <c:pt idx="2">
                  <c:v>3.913289801384451</c:v>
                </c:pt>
              </c:numCache>
            </c:numRef>
          </c:val>
          <c:extLst>
            <c:ext xmlns:c16="http://schemas.microsoft.com/office/drawing/2014/chart" uri="{C3380CC4-5D6E-409C-BE32-E72D297353CC}">
              <c16:uniqueId val="{00000004-D199-47A7-AEEB-A6EADA37F0F5}"/>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Wake</c:v>
                </c:pt>
                <c:pt idx="1">
                  <c:v>Orange</c:v>
                </c:pt>
                <c:pt idx="2">
                  <c:v>Moore</c:v>
                </c:pt>
                <c:pt idx="3">
                  <c:v>Lee</c:v>
                </c:pt>
                <c:pt idx="4">
                  <c:v>Johnston</c:v>
                </c:pt>
                <c:pt idx="5">
                  <c:v>Durham</c:v>
                </c:pt>
                <c:pt idx="6">
                  <c:v>Chatham</c:v>
                </c:pt>
                <c:pt idx="7">
                  <c:v>Triangle J</c:v>
                </c:pt>
                <c:pt idx="8">
                  <c:v>North Carolina</c:v>
                </c:pt>
                <c:pt idx="9">
                  <c:v>United States</c:v>
                </c:pt>
              </c:strCache>
            </c:strRef>
          </c:cat>
          <c:val>
            <c:numRef>
              <c:f>Sheet1!$B$2:$B$11</c:f>
              <c:numCache>
                <c:formatCode>0.0</c:formatCode>
                <c:ptCount val="10"/>
                <c:pt idx="0">
                  <c:v>13.479044966991138</c:v>
                </c:pt>
                <c:pt idx="1">
                  <c:v>12.597030724134187</c:v>
                </c:pt>
                <c:pt idx="2">
                  <c:v>5.0355918797785391</c:v>
                </c:pt>
                <c:pt idx="3">
                  <c:v>8.6476482226051434</c:v>
                </c:pt>
                <c:pt idx="4">
                  <c:v>7.454571266325952</c:v>
                </c:pt>
                <c:pt idx="5">
                  <c:v>14.310970619654784</c:v>
                </c:pt>
                <c:pt idx="6">
                  <c:v>10.15452244571733</c:v>
                </c:pt>
                <c:pt idx="7">
                  <c:v>12.2</c:v>
                </c:pt>
                <c:pt idx="8">
                  <c:v>8.1999999999999993</c:v>
                </c:pt>
                <c:pt idx="9">
                  <c:v>13.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Wake</c:v>
                </c:pt>
                <c:pt idx="1">
                  <c:v>Orange</c:v>
                </c:pt>
                <c:pt idx="2">
                  <c:v>Moore</c:v>
                </c:pt>
                <c:pt idx="3">
                  <c:v>Lee</c:v>
                </c:pt>
                <c:pt idx="4">
                  <c:v>Johnston</c:v>
                </c:pt>
                <c:pt idx="5">
                  <c:v>Durham</c:v>
                </c:pt>
                <c:pt idx="6">
                  <c:v>Chatham</c:v>
                </c:pt>
                <c:pt idx="7">
                  <c:v>Triangle J</c:v>
                </c:pt>
                <c:pt idx="8">
                  <c:v>North Carolina</c:v>
                </c:pt>
                <c:pt idx="9">
                  <c:v>United States</c:v>
                </c:pt>
              </c:strCache>
            </c:strRef>
          </c:cat>
          <c:val>
            <c:numRef>
              <c:f>Sheet1!$B$2:$B$11</c:f>
              <c:numCache>
                <c:formatCode>0.0</c:formatCode>
                <c:ptCount val="10"/>
                <c:pt idx="0">
                  <c:v>2.4473992369584101</c:v>
                </c:pt>
                <c:pt idx="1">
                  <c:v>2.9992300692937639</c:v>
                </c:pt>
                <c:pt idx="2">
                  <c:v>4.9353811575201352</c:v>
                </c:pt>
                <c:pt idx="3">
                  <c:v>20.422302870339823</c:v>
                </c:pt>
                <c:pt idx="4">
                  <c:v>10.803711155823832</c:v>
                </c:pt>
                <c:pt idx="5">
                  <c:v>4.721973706157975</c:v>
                </c:pt>
                <c:pt idx="6">
                  <c:v>7.2314876584389589</c:v>
                </c:pt>
                <c:pt idx="7">
                  <c:v>4.5999999999999996</c:v>
                </c:pt>
                <c:pt idx="8">
                  <c:v>5.7</c:v>
                </c:pt>
                <c:pt idx="9">
                  <c:v>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Wake</c:v>
                </c:pt>
                <c:pt idx="1">
                  <c:v>Orange</c:v>
                </c:pt>
                <c:pt idx="2">
                  <c:v>Moore</c:v>
                </c:pt>
                <c:pt idx="3">
                  <c:v>Lee</c:v>
                </c:pt>
                <c:pt idx="4">
                  <c:v>Johnston</c:v>
                </c:pt>
                <c:pt idx="5">
                  <c:v>Durham</c:v>
                </c:pt>
                <c:pt idx="6">
                  <c:v>Chatham</c:v>
                </c:pt>
                <c:pt idx="7">
                  <c:v>Triangle J</c:v>
                </c:pt>
                <c:pt idx="8">
                  <c:v>North Carolina</c:v>
                </c:pt>
                <c:pt idx="9">
                  <c:v>United States</c:v>
                </c:pt>
              </c:strCache>
            </c:strRef>
          </c:cat>
          <c:val>
            <c:numRef>
              <c:f>Sheet1!$B$2:$B$11</c:f>
              <c:numCache>
                <c:formatCode>0.0</c:formatCode>
                <c:ptCount val="10"/>
                <c:pt idx="0">
                  <c:v>6.9595792962971563</c:v>
                </c:pt>
                <c:pt idx="1">
                  <c:v>7.5328133916682516</c:v>
                </c:pt>
                <c:pt idx="2">
                  <c:v>13.29994681794008</c:v>
                </c:pt>
                <c:pt idx="3">
                  <c:v>19.086591896534301</c:v>
                </c:pt>
                <c:pt idx="4">
                  <c:v>17.105739306651227</c:v>
                </c:pt>
                <c:pt idx="5">
                  <c:v>10.407678510834263</c:v>
                </c:pt>
                <c:pt idx="6">
                  <c:v>14.410625345877145</c:v>
                </c:pt>
                <c:pt idx="7">
                  <c:v>10</c:v>
                </c:pt>
                <c:pt idx="8">
                  <c:v>15.9</c:v>
                </c:pt>
                <c:pt idx="9">
                  <c:v>13.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Wake</c:v>
                </c:pt>
                <c:pt idx="1">
                  <c:v>Orange</c:v>
                </c:pt>
                <c:pt idx="2">
                  <c:v>Moore</c:v>
                </c:pt>
                <c:pt idx="3">
                  <c:v>Lee</c:v>
                </c:pt>
                <c:pt idx="4">
                  <c:v>Johnston</c:v>
                </c:pt>
                <c:pt idx="5">
                  <c:v>Durham</c:v>
                </c:pt>
                <c:pt idx="6">
                  <c:v>Chatham</c:v>
                </c:pt>
                <c:pt idx="7">
                  <c:v>Triangle J</c:v>
                </c:pt>
                <c:pt idx="8">
                  <c:v>North Carolina</c:v>
                </c:pt>
                <c:pt idx="9">
                  <c:v>United States</c:v>
                </c:pt>
              </c:strCache>
            </c:strRef>
          </c:cat>
          <c:val>
            <c:numRef>
              <c:f>Sheet1!$B$2:$B$11</c:f>
              <c:numCache>
                <c:formatCode>0.0</c:formatCode>
                <c:ptCount val="10"/>
                <c:pt idx="0">
                  <c:v>9.0229679903780724</c:v>
                </c:pt>
                <c:pt idx="1">
                  <c:v>8.2894955519138733</c:v>
                </c:pt>
                <c:pt idx="2">
                  <c:v>9.0682368069376356</c:v>
                </c:pt>
                <c:pt idx="3">
                  <c:v>3.3204564841965083</c:v>
                </c:pt>
                <c:pt idx="4">
                  <c:v>5.6647089526441752</c:v>
                </c:pt>
                <c:pt idx="5">
                  <c:v>6.9970079393144955</c:v>
                </c:pt>
                <c:pt idx="6">
                  <c:v>6.1142819219178177</c:v>
                </c:pt>
                <c:pt idx="7">
                  <c:v>7.9</c:v>
                </c:pt>
                <c:pt idx="8">
                  <c:v>6.8</c:v>
                </c:pt>
                <c:pt idx="9">
                  <c:v>6.8</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5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Wake</c:v>
                </c:pt>
                <c:pt idx="1">
                  <c:v>Orange</c:v>
                </c:pt>
                <c:pt idx="2">
                  <c:v>Moore</c:v>
                </c:pt>
                <c:pt idx="3">
                  <c:v>Lee</c:v>
                </c:pt>
                <c:pt idx="4">
                  <c:v>Johnston</c:v>
                </c:pt>
                <c:pt idx="5">
                  <c:v>Durham</c:v>
                </c:pt>
                <c:pt idx="6">
                  <c:v>Chatham</c:v>
                </c:pt>
                <c:pt idx="7">
                  <c:v>Triangle J</c:v>
                </c:pt>
                <c:pt idx="8">
                  <c:v>North Carolina</c:v>
                </c:pt>
                <c:pt idx="9">
                  <c:v>United States</c:v>
                </c:pt>
              </c:strCache>
            </c:strRef>
          </c:cat>
          <c:val>
            <c:numRef>
              <c:f>Sheet1!$B$2:$B$11</c:f>
              <c:numCache>
                <c:formatCode>0.0</c:formatCode>
                <c:ptCount val="10"/>
                <c:pt idx="0">
                  <c:v>1.6769159338993329</c:v>
                </c:pt>
                <c:pt idx="1">
                  <c:v>0</c:v>
                </c:pt>
                <c:pt idx="2">
                  <c:v>11.947284148294125</c:v>
                </c:pt>
                <c:pt idx="3">
                  <c:v>28.866369523168782</c:v>
                </c:pt>
                <c:pt idx="4">
                  <c:v>21.125576384966042</c:v>
                </c:pt>
                <c:pt idx="5">
                  <c:v>10.440487488889893</c:v>
                </c:pt>
                <c:pt idx="6">
                  <c:v>9.3202336696760497</c:v>
                </c:pt>
                <c:pt idx="7">
                  <c:v>6.6</c:v>
                </c:pt>
                <c:pt idx="8">
                  <c:v>20.7</c:v>
                </c:pt>
                <c:pt idx="9">
                  <c:v>21.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92377039826543"/>
          <c:y val="2.6006606459914455E-2"/>
          <c:w val="0.64036608467419831"/>
          <c:h val="0.9061237832556920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Wake</c:v>
                </c:pt>
                <c:pt idx="1">
                  <c:v>Orange</c:v>
                </c:pt>
                <c:pt idx="2">
                  <c:v>Moore</c:v>
                </c:pt>
                <c:pt idx="3">
                  <c:v>Lee</c:v>
                </c:pt>
                <c:pt idx="4">
                  <c:v>Johnston</c:v>
                </c:pt>
                <c:pt idx="5">
                  <c:v>Durham</c:v>
                </c:pt>
                <c:pt idx="6">
                  <c:v>Chatham</c:v>
                </c:pt>
                <c:pt idx="7">
                  <c:v>Triangle J</c:v>
                </c:pt>
                <c:pt idx="8">
                  <c:v>North Carolina</c:v>
                </c:pt>
                <c:pt idx="9">
                  <c:v>United States</c:v>
                </c:pt>
              </c:strCache>
            </c:strRef>
          </c:cat>
          <c:val>
            <c:numRef>
              <c:f>Sheet1!$B$2:$B$11</c:f>
              <c:numCache>
                <c:formatCode>0.0</c:formatCode>
                <c:ptCount val="10"/>
                <c:pt idx="0">
                  <c:v>1.2021964069132809</c:v>
                </c:pt>
                <c:pt idx="1">
                  <c:v>5.572896701531497</c:v>
                </c:pt>
                <c:pt idx="2">
                  <c:v>31.075255573346471</c:v>
                </c:pt>
                <c:pt idx="3">
                  <c:v>32.011605415860735</c:v>
                </c:pt>
                <c:pt idx="4">
                  <c:v>34.233654313527147</c:v>
                </c:pt>
                <c:pt idx="5">
                  <c:v>7.4742772781368165</c:v>
                </c:pt>
                <c:pt idx="6">
                  <c:v>28.173127987254382</c:v>
                </c:pt>
                <c:pt idx="7">
                  <c:v>9.3000000000000007</c:v>
                </c:pt>
                <c:pt idx="8">
                  <c:v>29.7</c:v>
                </c:pt>
                <c:pt idx="9">
                  <c:v>29.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530849246735359E-2"/>
          <c:y val="3.5199288570078653E-2"/>
          <c:w val="0.93552993290962927"/>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Triangle J</c:v>
                </c:pt>
              </c:strCache>
            </c:strRef>
          </c:cat>
          <c:val>
            <c:numRef>
              <c:f>Sheet1!$B$2:$B$4</c:f>
              <c:numCache>
                <c:formatCode>0.00</c:formatCode>
                <c:ptCount val="3"/>
                <c:pt idx="0">
                  <c:v>3.9456284717007351</c:v>
                </c:pt>
                <c:pt idx="1">
                  <c:v>4.4296238962062287</c:v>
                </c:pt>
                <c:pt idx="2">
                  <c:v>12.55</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13"/>
          <c:min val="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Work from hom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Triangle J</c:v>
                </c:pt>
              </c:strCache>
            </c:strRef>
          </c:cat>
          <c:val>
            <c:numRef>
              <c:f>Sheet1!$B$2:$B$4</c:f>
              <c:numCache>
                <c:formatCode>0.0</c:formatCode>
                <c:ptCount val="3"/>
                <c:pt idx="0">
                  <c:v>9.6993852410295798</c:v>
                </c:pt>
                <c:pt idx="1">
                  <c:v>10.285900434333007</c:v>
                </c:pt>
                <c:pt idx="2" formatCode="#,##0.0">
                  <c:v>16.100000000000001</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Triangle J</c:v>
                </c:pt>
              </c:strCache>
            </c:strRef>
          </c:cat>
          <c:val>
            <c:numRef>
              <c:f>Sheet1!$C$2:$C$4</c:f>
              <c:numCache>
                <c:formatCode>0.0</c:formatCode>
                <c:ptCount val="3"/>
                <c:pt idx="0">
                  <c:v>9.5092908053327836</c:v>
                </c:pt>
                <c:pt idx="1">
                  <c:v>10.158199176779275</c:v>
                </c:pt>
                <c:pt idx="2" formatCode="#,##0.0">
                  <c:v>16</c:v>
                </c:pt>
              </c:numCache>
            </c:numRef>
          </c:val>
          <c:extLst>
            <c:ext xmlns:c16="http://schemas.microsoft.com/office/drawing/2014/chart" uri="{C3380CC4-5D6E-409C-BE32-E72D297353CC}">
              <c16:uniqueId val="{00000000-D4A4-43F4-B575-F67981252F12}"/>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2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Workers 16+</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Remote Work Friendl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Triangle J</c:v>
                </c:pt>
              </c:strCache>
            </c:strRef>
          </c:cat>
          <c:val>
            <c:numRef>
              <c:f>Sheet1!$B$2:$B$4</c:f>
              <c:numCache>
                <c:formatCode>0.0</c:formatCode>
                <c:ptCount val="3"/>
                <c:pt idx="0">
                  <c:v>35.163543124718231</c:v>
                </c:pt>
                <c:pt idx="1">
                  <c:v>32.670704756158578</c:v>
                </c:pt>
                <c:pt idx="2">
                  <c:v>38.5</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Triangle J</c:v>
                </c:pt>
              </c:strCache>
            </c:strRef>
          </c:cat>
          <c:val>
            <c:numRef>
              <c:f>Sheet1!$C$2:$C$4</c:f>
              <c:numCache>
                <c:formatCode>0.0</c:formatCode>
                <c:ptCount val="3"/>
                <c:pt idx="0">
                  <c:v>9.5092908053327836</c:v>
                </c:pt>
                <c:pt idx="1">
                  <c:v>10.158199176779275</c:v>
                </c:pt>
                <c:pt idx="2">
                  <c:v>16</c:v>
                </c:pt>
              </c:numCache>
            </c:numRef>
          </c:val>
          <c:extLst>
            <c:ext xmlns:c16="http://schemas.microsoft.com/office/drawing/2014/chart" uri="{C3380CC4-5D6E-409C-BE32-E72D297353CC}">
              <c16:uniqueId val="{00000000-5316-4FD0-A059-5A13AA1470F3}"/>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Triangle J</c:v>
                </c:pt>
              </c:strCache>
            </c:strRef>
          </c:cat>
          <c:val>
            <c:numRef>
              <c:f>Sheet1!$B$2:$B$4</c:f>
              <c:numCache>
                <c:formatCode>0.0</c:formatCode>
                <c:ptCount val="3"/>
                <c:pt idx="0">
                  <c:v>3.4315339366940902</c:v>
                </c:pt>
                <c:pt idx="1">
                  <c:v>3.1906212529243381</c:v>
                </c:pt>
                <c:pt idx="2" formatCode="#,##0.0">
                  <c:v>6.7</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1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Job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Under 18</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Triangle J</c:v>
                </c:pt>
              </c:strCache>
            </c:strRef>
          </c:cat>
          <c:val>
            <c:numRef>
              <c:f>Sheet1!$B$2:$B$4</c:f>
              <c:numCache>
                <c:formatCode>#,##0.0</c:formatCode>
                <c:ptCount val="3"/>
                <c:pt idx="0">
                  <c:v>22.513903012548795</c:v>
                </c:pt>
                <c:pt idx="1">
                  <c:v>22.208065151207357</c:v>
                </c:pt>
                <c:pt idx="2">
                  <c:v>22.929417791822747</c:v>
                </c:pt>
              </c:numCache>
            </c:numRef>
          </c:val>
          <c:extLst>
            <c:ext xmlns:c16="http://schemas.microsoft.com/office/drawing/2014/chart" uri="{C3380CC4-5D6E-409C-BE32-E72D297353CC}">
              <c16:uniqueId val="{00000000-298F-467E-8D4C-304DCB4FECBD}"/>
            </c:ext>
          </c:extLst>
        </c:ser>
        <c:ser>
          <c:idx val="1"/>
          <c:order val="1"/>
          <c:tx>
            <c:strRef>
              <c:f>Sheet1!$C$1</c:f>
              <c:strCache>
                <c:ptCount val="1"/>
                <c:pt idx="0">
                  <c:v>18-2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Triangle J</c:v>
                </c:pt>
              </c:strCache>
            </c:strRef>
          </c:cat>
          <c:val>
            <c:numRef>
              <c:f>Sheet1!$C$2:$C$4</c:f>
              <c:numCache>
                <c:formatCode>#,##0.0</c:formatCode>
                <c:ptCount val="3"/>
                <c:pt idx="0">
                  <c:v>9.2013176864544484</c:v>
                </c:pt>
                <c:pt idx="1">
                  <c:v>9.4514220187822495</c:v>
                </c:pt>
                <c:pt idx="2">
                  <c:v>9.4740418196637322</c:v>
                </c:pt>
              </c:numCache>
            </c:numRef>
          </c:val>
          <c:extLst>
            <c:ext xmlns:c16="http://schemas.microsoft.com/office/drawing/2014/chart" uri="{C3380CC4-5D6E-409C-BE32-E72D297353CC}">
              <c16:uniqueId val="{00000001-298F-467E-8D4C-304DCB4FECBD}"/>
            </c:ext>
          </c:extLst>
        </c:ser>
        <c:ser>
          <c:idx val="2"/>
          <c:order val="2"/>
          <c:tx>
            <c:strRef>
              <c:f>Sheet1!$D$1</c:f>
              <c:strCache>
                <c:ptCount val="1"/>
                <c:pt idx="0">
                  <c:v>25-5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Triangle J</c:v>
                </c:pt>
              </c:strCache>
            </c:strRef>
          </c:cat>
          <c:val>
            <c:numRef>
              <c:f>Sheet1!$D$2:$D$4</c:f>
              <c:numCache>
                <c:formatCode>#,##0.0</c:formatCode>
                <c:ptCount val="3"/>
                <c:pt idx="0">
                  <c:v>39.255165420472913</c:v>
                </c:pt>
                <c:pt idx="1">
                  <c:v>39.051455663931264</c:v>
                </c:pt>
                <c:pt idx="2">
                  <c:v>42.057868269094698</c:v>
                </c:pt>
              </c:numCache>
            </c:numRef>
          </c:val>
          <c:extLst>
            <c:ext xmlns:c16="http://schemas.microsoft.com/office/drawing/2014/chart" uri="{C3380CC4-5D6E-409C-BE32-E72D297353CC}">
              <c16:uniqueId val="{00000002-298F-467E-8D4C-304DCB4FECBD}"/>
            </c:ext>
          </c:extLst>
        </c:ser>
        <c:ser>
          <c:idx val="3"/>
          <c:order val="3"/>
          <c:tx>
            <c:strRef>
              <c:f>Sheet1!$E$1</c:f>
              <c:strCache>
                <c:ptCount val="1"/>
                <c:pt idx="0">
                  <c:v>55-6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Triangle J</c:v>
                </c:pt>
              </c:strCache>
            </c:strRef>
          </c:cat>
          <c:val>
            <c:numRef>
              <c:f>Sheet1!$E$2:$E$4</c:f>
              <c:numCache>
                <c:formatCode>#,##0.0</c:formatCode>
                <c:ptCount val="3"/>
                <c:pt idx="0">
                  <c:v>12.989415579926018</c:v>
                </c:pt>
                <c:pt idx="1">
                  <c:v>13.023682210764095</c:v>
                </c:pt>
                <c:pt idx="2">
                  <c:v>11.96781798037463</c:v>
                </c:pt>
              </c:numCache>
            </c:numRef>
          </c:val>
          <c:extLst>
            <c:ext xmlns:c16="http://schemas.microsoft.com/office/drawing/2014/chart" uri="{C3380CC4-5D6E-409C-BE32-E72D297353CC}">
              <c16:uniqueId val="{00000003-298F-467E-8D4C-304DCB4FECBD}"/>
            </c:ext>
          </c:extLst>
        </c:ser>
        <c:ser>
          <c:idx val="4"/>
          <c:order val="4"/>
          <c:tx>
            <c:strRef>
              <c:f>Sheet1!$F$1</c:f>
              <c:strCache>
                <c:ptCount val="1"/>
                <c:pt idx="0">
                  <c:v>65 or old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Triangle J</c:v>
                </c:pt>
              </c:strCache>
            </c:strRef>
          </c:cat>
          <c:val>
            <c:numRef>
              <c:f>Sheet1!$F$2:$F$4</c:f>
              <c:numCache>
                <c:formatCode>#,##0.0</c:formatCode>
                <c:ptCount val="3"/>
                <c:pt idx="0">
                  <c:v>16.040198300597826</c:v>
                </c:pt>
                <c:pt idx="1">
                  <c:v>16.265374955315039</c:v>
                </c:pt>
                <c:pt idx="2">
                  <c:v>13.570854139044194</c:v>
                </c:pt>
              </c:numCache>
            </c:numRef>
          </c:val>
          <c:extLst>
            <c:ext xmlns:c16="http://schemas.microsoft.com/office/drawing/2014/chart" uri="{C3380CC4-5D6E-409C-BE32-E72D297353CC}">
              <c16:uniqueId val="{00000004-298F-467E-8D4C-304DCB4FECBD}"/>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42086452243898E-2"/>
          <c:y val="3.5199288570078653E-2"/>
          <c:w val="0.94963991763392563"/>
          <c:h val="0.80525199306986062"/>
        </c:manualLayout>
      </c:layout>
      <c:barChart>
        <c:barDir val="col"/>
        <c:grouping val="percentStacked"/>
        <c:varyColors val="0"/>
        <c:ser>
          <c:idx val="0"/>
          <c:order val="0"/>
          <c:tx>
            <c:strRef>
              <c:f>Sheet1!$B$1</c:f>
              <c:strCache>
                <c:ptCount val="1"/>
                <c:pt idx="0">
                  <c:v>Low</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Triangle J</c:v>
                </c:pt>
              </c:strCache>
            </c:strRef>
          </c:cat>
          <c:val>
            <c:numRef>
              <c:f>Sheet1!$B$2:$B$4</c:f>
              <c:numCache>
                <c:formatCode>0.0</c:formatCode>
                <c:ptCount val="3"/>
                <c:pt idx="0">
                  <c:v>28.70828963274613</c:v>
                </c:pt>
                <c:pt idx="1">
                  <c:v>28.399462765329204</c:v>
                </c:pt>
                <c:pt idx="2">
                  <c:v>24.330786104599806</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Midd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Triangle J</c:v>
                </c:pt>
              </c:strCache>
            </c:strRef>
          </c:cat>
          <c:val>
            <c:numRef>
              <c:f>Sheet1!$C$2:$C$4</c:f>
              <c:numCache>
                <c:formatCode>0.0</c:formatCode>
                <c:ptCount val="3"/>
                <c:pt idx="0">
                  <c:v>41.555902088108759</c:v>
                </c:pt>
                <c:pt idx="1">
                  <c:v>42.725477774104526</c:v>
                </c:pt>
                <c:pt idx="2">
                  <c:v>41.36570927768622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High</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Triangle J</c:v>
                </c:pt>
              </c:strCache>
            </c:strRef>
          </c:cat>
          <c:val>
            <c:numRef>
              <c:f>Sheet1!$D$2:$D$4</c:f>
              <c:numCache>
                <c:formatCode>0.0</c:formatCode>
                <c:ptCount val="3"/>
                <c:pt idx="0">
                  <c:v>29.735808279145072</c:v>
                </c:pt>
                <c:pt idx="1">
                  <c:v>28.875059460566249</c:v>
                </c:pt>
                <c:pt idx="2">
                  <c:v>34.303504617713962</c:v>
                </c:pt>
              </c:numCache>
            </c:numRef>
          </c:val>
          <c:extLst>
            <c:ext xmlns:c16="http://schemas.microsoft.com/office/drawing/2014/chart" uri="{C3380CC4-5D6E-409C-BE32-E72D297353CC}">
              <c16:uniqueId val="{00000000-7FF8-4673-813A-20F4B1D13D30}"/>
            </c:ext>
          </c:extLst>
        </c:ser>
        <c:dLbls>
          <c:showLegendKey val="0"/>
          <c:showVal val="0"/>
          <c:showCatName val="0"/>
          <c:showSerName val="0"/>
          <c:showPercent val="0"/>
          <c:showBubbleSize val="0"/>
        </c:dLbls>
        <c:gapWidth val="80"/>
        <c:overlap val="10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Less than High Schoo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Triangle J</c:v>
                </c:pt>
              </c:strCache>
            </c:strRef>
          </c:cat>
          <c:val>
            <c:numRef>
              <c:f>Sheet1!$B$2:$B$4</c:f>
              <c:numCache>
                <c:formatCode>#,##0.0</c:formatCode>
                <c:ptCount val="3"/>
                <c:pt idx="0">
                  <c:v>11.12595967644428</c:v>
                </c:pt>
                <c:pt idx="1">
                  <c:v>10.962591300115909</c:v>
                </c:pt>
                <c:pt idx="2">
                  <c:v>7.9356314527929461</c:v>
                </c:pt>
              </c:numCache>
            </c:numRef>
          </c:val>
          <c:extLst>
            <c:ext xmlns:c16="http://schemas.microsoft.com/office/drawing/2014/chart" uri="{C3380CC4-5D6E-409C-BE32-E72D297353CC}">
              <c16:uniqueId val="{00000000-DB59-4D1E-94C4-FDDF6616C3B1}"/>
            </c:ext>
          </c:extLst>
        </c:ser>
        <c:ser>
          <c:idx val="1"/>
          <c:order val="1"/>
          <c:tx>
            <c:strRef>
              <c:f>Sheet1!$C$1</c:f>
              <c:strCache>
                <c:ptCount val="1"/>
                <c:pt idx="0">
                  <c:v>High Schoo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Triangle J</c:v>
                </c:pt>
              </c:strCache>
            </c:strRef>
          </c:cat>
          <c:val>
            <c:numRef>
              <c:f>Sheet1!$C$2:$C$4</c:f>
              <c:numCache>
                <c:formatCode>#,##0.0</c:formatCode>
                <c:ptCount val="3"/>
                <c:pt idx="0">
                  <c:v>26.487129599470212</c:v>
                </c:pt>
                <c:pt idx="1">
                  <c:v>25.231126134035375</c:v>
                </c:pt>
                <c:pt idx="2">
                  <c:v>17.08482928957093</c:v>
                </c:pt>
              </c:numCache>
            </c:numRef>
          </c:val>
          <c:extLst>
            <c:ext xmlns:c16="http://schemas.microsoft.com/office/drawing/2014/chart" uri="{C3380CC4-5D6E-409C-BE32-E72D297353CC}">
              <c16:uniqueId val="{00000001-DB59-4D1E-94C4-FDDF6616C3B1}"/>
            </c:ext>
          </c:extLst>
        </c:ser>
        <c:ser>
          <c:idx val="2"/>
          <c:order val="2"/>
          <c:tx>
            <c:strRef>
              <c:f>Sheet1!$D$1</c:f>
              <c:strCache>
                <c:ptCount val="1"/>
                <c:pt idx="0">
                  <c:v>Some Colleg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Triangle J</c:v>
                </c:pt>
              </c:strCache>
            </c:strRef>
          </c:cat>
          <c:val>
            <c:numRef>
              <c:f>Sheet1!$D$2:$D$4</c:f>
              <c:numCache>
                <c:formatCode>#,##0.0</c:formatCode>
                <c:ptCount val="3"/>
                <c:pt idx="0">
                  <c:v>28.716889020511388</c:v>
                </c:pt>
                <c:pt idx="1">
                  <c:v>30.789995477690791</c:v>
                </c:pt>
                <c:pt idx="2">
                  <c:v>25.759600501269951</c:v>
                </c:pt>
              </c:numCache>
            </c:numRef>
          </c:val>
          <c:extLst>
            <c:ext xmlns:c16="http://schemas.microsoft.com/office/drawing/2014/chart" uri="{C3380CC4-5D6E-409C-BE32-E72D297353CC}">
              <c16:uniqueId val="{00000002-DB59-4D1E-94C4-FDDF6616C3B1}"/>
            </c:ext>
          </c:extLst>
        </c:ser>
        <c:ser>
          <c:idx val="3"/>
          <c:order val="3"/>
          <c:tx>
            <c:strRef>
              <c:f>Sheet1!$E$1</c:f>
              <c:strCache>
                <c:ptCount val="1"/>
                <c:pt idx="0">
                  <c:v>Bachelor's or Higher</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Triangle J</c:v>
                </c:pt>
              </c:strCache>
            </c:strRef>
          </c:cat>
          <c:val>
            <c:numRef>
              <c:f>Sheet1!$E$2:$E$4</c:f>
              <c:numCache>
                <c:formatCode>#,##0.0</c:formatCode>
                <c:ptCount val="3"/>
                <c:pt idx="0">
                  <c:v>33.670021703574122</c:v>
                </c:pt>
                <c:pt idx="1">
                  <c:v>33.016287088157931</c:v>
                </c:pt>
                <c:pt idx="2">
                  <c:v>49.219938756366169</c:v>
                </c:pt>
              </c:numCache>
            </c:numRef>
          </c:val>
          <c:extLst>
            <c:ext xmlns:c16="http://schemas.microsoft.com/office/drawing/2014/chart" uri="{C3380CC4-5D6E-409C-BE32-E72D297353CC}">
              <c16:uniqueId val="{00000003-DB59-4D1E-94C4-FDDF6616C3B1}"/>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B$2:$B$4</c:f>
              <c:numCache>
                <c:formatCode>#,##0.0</c:formatCode>
                <c:ptCount val="3"/>
                <c:pt idx="0">
                  <c:v>6.7632019873283902</c:v>
                </c:pt>
                <c:pt idx="1">
                  <c:v>6.4400531487874915</c:v>
                </c:pt>
                <c:pt idx="2">
                  <c:v>5.9494230626393074</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C$2:$C$4</c:f>
              <c:numCache>
                <c:formatCode>#,##0.0</c:formatCode>
                <c:ptCount val="3"/>
                <c:pt idx="0">
                  <c:v>7.6134563169347897</c:v>
                </c:pt>
                <c:pt idx="1">
                  <c:v>7.0258056619938429</c:v>
                </c:pt>
                <c:pt idx="2">
                  <c:v>6.4229869368409744</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Triangle J</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D$2:$D$4</c:f>
              <c:numCache>
                <c:formatCode>#,##0.0</c:formatCode>
                <c:ptCount val="3"/>
                <c:pt idx="0">
                  <c:v>4.8914378822951283</c:v>
                </c:pt>
                <c:pt idx="1">
                  <c:v>4.9268872235423133</c:v>
                </c:pt>
                <c:pt idx="2">
                  <c:v>4.4770743870342153</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5.1048696248406324</c:v>
                </c:pt>
                <c:pt idx="1">
                  <c:v>8.4971024576891452</c:v>
                </c:pt>
                <c:pt idx="2">
                  <c:v>11.193421141111068</c:v>
                </c:pt>
                <c:pt idx="3">
                  <c:v>7.552841609891370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5.6038633516447804</c:v>
                </c:pt>
                <c:pt idx="1">
                  <c:v>8.4737784081635166</c:v>
                </c:pt>
                <c:pt idx="2">
                  <c:v>14.773568218327526</c:v>
                </c:pt>
                <c:pt idx="3">
                  <c:v>8.67310041141681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Triangle J</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Red]#,##0.0</c:formatCode>
                <c:ptCount val="4"/>
                <c:pt idx="0">
                  <c:v>4.5115290228361733</c:v>
                </c:pt>
                <c:pt idx="1">
                  <c:v>7.1444379514851608</c:v>
                </c:pt>
                <c:pt idx="2">
                  <c:v>10.239651416122005</c:v>
                </c:pt>
                <c:pt idx="3">
                  <c:v>9.3734979075438662</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4.3107693542841385</c:v>
                </c:pt>
                <c:pt idx="1">
                  <c:v>6.416960166017037</c:v>
                </c:pt>
                <c:pt idx="2">
                  <c:v>9.2180310760359525</c:v>
                </c:pt>
                <c:pt idx="3">
                  <c:v>3.9551755473774581</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4.4955765720803793</c:v>
                </c:pt>
                <c:pt idx="1">
                  <c:v>7.6635392868514272</c:v>
                </c:pt>
                <c:pt idx="2">
                  <c:v>9.4227749399851994</c:v>
                </c:pt>
                <c:pt idx="3">
                  <c:v>4.0178427937773211</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Triangle J</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Red]#,##0.0</c:formatCode>
                <c:ptCount val="4"/>
                <c:pt idx="0">
                  <c:v>2.0846457457236158</c:v>
                </c:pt>
                <c:pt idx="1">
                  <c:v>4.6726926854741446</c:v>
                </c:pt>
                <c:pt idx="2">
                  <c:v>4.4934640522875817</c:v>
                </c:pt>
                <c:pt idx="3">
                  <c:v>1.9253242314798893</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B$2:$B$7</c:f>
              <c:numCache>
                <c:formatCode>#,##0.0</c:formatCode>
                <c:ptCount val="6"/>
                <c:pt idx="0">
                  <c:v>32.240789650020453</c:v>
                </c:pt>
                <c:pt idx="1">
                  <c:v>35.060039929643672</c:v>
                </c:pt>
                <c:pt idx="2">
                  <c:v>23.685955682452324</c:v>
                </c:pt>
                <c:pt idx="3">
                  <c:v>15.28812023186428</c:v>
                </c:pt>
                <c:pt idx="4">
                  <c:v>10.030658664043282</c:v>
                </c:pt>
                <c:pt idx="5" formatCode="0.0">
                  <c:v>4.2904857511447796</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C$2:$C$7</c:f>
              <c:numCache>
                <c:formatCode>#,##0.0</c:formatCode>
                <c:ptCount val="6"/>
                <c:pt idx="0">
                  <c:v>33.950868966923196</c:v>
                </c:pt>
                <c:pt idx="1">
                  <c:v>38.456579130193134</c:v>
                </c:pt>
                <c:pt idx="2">
                  <c:v>24.425306066423939</c:v>
                </c:pt>
                <c:pt idx="3">
                  <c:v>14.722471660537762</c:v>
                </c:pt>
                <c:pt idx="4">
                  <c:v>10.098076663820608</c:v>
                </c:pt>
                <c:pt idx="5" formatCode="0.0">
                  <c:v>4.51580848477719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Triangle J</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D$2:$D$7</c:f>
              <c:numCache>
                <c:formatCode>#,##0.0</c:formatCode>
                <c:ptCount val="6"/>
                <c:pt idx="0">
                  <c:v>25.461221295934028</c:v>
                </c:pt>
                <c:pt idx="1">
                  <c:v>30.274774774774777</c:v>
                </c:pt>
                <c:pt idx="2">
                  <c:v>20.293367346938776</c:v>
                </c:pt>
                <c:pt idx="3">
                  <c:v>12.705109052883179</c:v>
                </c:pt>
                <c:pt idx="4">
                  <c:v>9.1078081617478386</c:v>
                </c:pt>
                <c:pt idx="5" formatCode="0.0">
                  <c:v>3.029870506996363</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B$2:$B$5</c:f>
              <c:numCache>
                <c:formatCode>#,##0.0</c:formatCode>
                <c:ptCount val="4"/>
                <c:pt idx="0">
                  <c:v>11.18474320405404</c:v>
                </c:pt>
                <c:pt idx="1">
                  <c:v>10.256260993380328</c:v>
                </c:pt>
                <c:pt idx="2">
                  <c:v>14.165656379879616</c:v>
                </c:pt>
                <c:pt idx="3">
                  <c:v>6.945781870690946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C$2:$C$5</c:f>
              <c:numCache>
                <c:formatCode>#,##0.0</c:formatCode>
                <c:ptCount val="4"/>
                <c:pt idx="0">
                  <c:v>10.324922596168621</c:v>
                </c:pt>
                <c:pt idx="1">
                  <c:v>11.862168140057561</c:v>
                </c:pt>
                <c:pt idx="2">
                  <c:v>14.793525341761585</c:v>
                </c:pt>
                <c:pt idx="3">
                  <c:v>7.9889775754433305</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Triangle J</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D$2:$D$5</c:f>
              <c:numCache>
                <c:formatCode>#,##0.0;[Red]#,##0.0</c:formatCode>
                <c:ptCount val="4"/>
                <c:pt idx="0">
                  <c:v>7.9294900136483344</c:v>
                </c:pt>
                <c:pt idx="1">
                  <c:v>6.8404426417536506</c:v>
                </c:pt>
                <c:pt idx="2">
                  <c:v>10.284692720247593</c:v>
                </c:pt>
                <c:pt idx="3">
                  <c:v>4.2120169418760369</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2/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2/5/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2/5/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2/5/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2/5/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2/5/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2/5/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2/5/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2/5/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2/5/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2/5/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2/5/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2/5/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chart" Target="../charts/chart9.xml"/><Relationship Id="rId4" Type="http://schemas.openxmlformats.org/officeDocument/2006/relationships/image" Target="../media/image2.emf"/></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chart" Target="../charts/chart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chart" Target="../charts/chart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chart" Target="../charts/chart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chart" Target="../charts/chart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hart" Target="../charts/chart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hart" Target="../charts/chart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chart" Target="../charts/chart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chart" Target="../charts/chart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chart" Target="../charts/chart2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chart" Target="../charts/chart6.xml"/><Relationship Id="rId4" Type="http://schemas.openxmlformats.org/officeDocument/2006/relationships/image" Target="../media/image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chart" Target="../charts/chart7.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31763"/>
          </a:xfrm>
          <a:prstGeom prst="rect">
            <a:avLst/>
          </a:prstGeom>
          <a:noFill/>
        </p:spPr>
        <p:txBody>
          <a:bodyPr wrap="square" rtlCol="0">
            <a:spAutoFit/>
          </a:bodyPr>
          <a:lstStyle/>
          <a:p>
            <a:r>
              <a:rPr lang="en-US" sz="4000" dirty="0">
                <a:solidFill>
                  <a:schemeClr val="bg1"/>
                </a:solidFill>
              </a:rPr>
              <a:t>Triangle J</a:t>
            </a:r>
          </a:p>
          <a:p>
            <a:r>
              <a:rPr lang="en-US" sz="3000" dirty="0">
                <a:solidFill>
                  <a:schemeClr val="bg1"/>
                </a:solidFill>
              </a:rPr>
              <a:t>2021 Regional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623209397"/>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332094972"/>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C133F09C-343C-FA8C-6D94-922636936983}"/>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A8ACB21D-C880-B9B0-B8FE-83598C11D73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0990" y="1044505"/>
            <a:ext cx="7613819" cy="5384166"/>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106EB3F6-C80C-8076-AF35-6883C2C6BC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192" y="1028700"/>
            <a:ext cx="7611528" cy="5382547"/>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2A27FEE8-4D0D-7F23-E35E-CFE14203CF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6877" y="1035974"/>
            <a:ext cx="7582045" cy="5361697"/>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171334201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6" name="Picture 5" descr="Map&#10;&#10;Description automatically generated">
            <a:extLst>
              <a:ext uri="{FF2B5EF4-FFF2-40B4-BE49-F238E27FC236}">
                <a16:creationId xmlns:a16="http://schemas.microsoft.com/office/drawing/2014/main" id="{A0AC33C5-F736-A6CD-6448-7DB593F8F9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8958" y="1152015"/>
            <a:ext cx="7247444" cy="5125082"/>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299447170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6" name="Picture 5" descr="Map&#10;&#10;Description automatically generated">
            <a:extLst>
              <a:ext uri="{FF2B5EF4-FFF2-40B4-BE49-F238E27FC236}">
                <a16:creationId xmlns:a16="http://schemas.microsoft.com/office/drawing/2014/main" id="{75F53D8C-8E1C-2D8C-0339-9CEE29DDE1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31495" y="1149847"/>
            <a:ext cx="7253575" cy="5129417"/>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89511511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BF299FA5-E77C-49FE-8DFD-7C8A5DCA38AB}"/>
              </a:ext>
            </a:extLst>
          </p:cNvPr>
          <p:cNvSpPr txBox="1"/>
          <p:nvPr/>
        </p:nvSpPr>
        <p:spPr>
          <a:xfrm>
            <a:off x="245533" y="6400412"/>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7" name="Picture 6" descr="Map&#10;&#10;Description automatically generated">
            <a:extLst>
              <a:ext uri="{FF2B5EF4-FFF2-40B4-BE49-F238E27FC236}">
                <a16:creationId xmlns:a16="http://schemas.microsoft.com/office/drawing/2014/main" id="{84513EA8-5A41-3812-5795-50FDD51DA7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787146656"/>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41418484-8E91-C78A-64B4-6975E5F057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513070346"/>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AC52BAFE-9801-C64B-2AB0-224E2B5E86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0).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274762497"/>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D6EA438A-2533-00D6-BCB8-8DE56C4467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61648727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F59095A2-E15A-CFF4-B8D4-1B8F848B7F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22276559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870666E7-95E9-9658-B37B-2AEFCCA335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039" y="1155000"/>
            <a:ext cx="7239000" cy="511911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72568457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64293278-9852-0312-E638-5DA000F680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399" y="1155000"/>
            <a:ext cx="7239001" cy="511911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33955652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33C4D769-0170-6C3C-F459-62356F5184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4015494967"/>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9F17A561-E301-F6E0-7D2D-27B7E76D33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2084" y="1154182"/>
            <a:ext cx="7241316" cy="5120748"/>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90239035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67D50309-C947-3008-651D-CB97F101C1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399" y="1135414"/>
            <a:ext cx="7239001" cy="511911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109676099"/>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EB899FD1-A82A-BAF5-0572-C6CDF28B35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32969"/>
            <a:ext cx="7239000" cy="511911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724538372"/>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11165942"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5" name="Picture 4" descr="Map&#10;&#10;Description automatically generated">
            <a:extLst>
              <a:ext uri="{FF2B5EF4-FFF2-40B4-BE49-F238E27FC236}">
                <a16:creationId xmlns:a16="http://schemas.microsoft.com/office/drawing/2014/main" id="{BEB4D80F-D522-3D76-656D-1ADFC92705A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308712556"/>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5" name="TextBox 4">
            <a:extLst>
              <a:ext uri="{FF2B5EF4-FFF2-40B4-BE49-F238E27FC236}">
                <a16:creationId xmlns:a16="http://schemas.microsoft.com/office/drawing/2014/main" id="{AD271B2F-57B1-DDF3-844C-402D53D67F69}"/>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E0814C0B-6AEC-33D7-983D-2FB373430E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49035"/>
            <a:ext cx="7255871" cy="513104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Total Population Trends: 1990 - 2021</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3103915880"/>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08079"/>
            <a:ext cx="2478243" cy="461665"/>
          </a:xfrm>
          <a:prstGeom prst="rect">
            <a:avLst/>
          </a:prstGeom>
          <a:noFill/>
        </p:spPr>
        <p:txBody>
          <a:bodyPr wrap="none" rtlCol="0">
            <a:spAutoFit/>
          </a:bodyPr>
          <a:lstStyle/>
          <a:p>
            <a:r>
              <a:rPr lang="en-US" sz="1200" dirty="0"/>
              <a:t>Source: Census Population Estimates</a:t>
            </a:r>
          </a:p>
          <a:p>
            <a:r>
              <a:rPr lang="en-US" sz="1200" dirty="0"/>
              <a:t>Note: 1990 = 1</a:t>
            </a:r>
          </a:p>
        </p:txBody>
      </p:sp>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2020902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9" name="TextBox 8">
            <a:extLst>
              <a:ext uri="{FF2B5EF4-FFF2-40B4-BE49-F238E27FC236}">
                <a16:creationId xmlns:a16="http://schemas.microsoft.com/office/drawing/2014/main" id="{7186EF87-E728-D13E-4ADB-699D1D4C3197}"/>
              </a:ext>
            </a:extLst>
          </p:cNvPr>
          <p:cNvSpPr txBox="1"/>
          <p:nvPr/>
        </p:nvSpPr>
        <p:spPr>
          <a:xfrm>
            <a:off x="245533" y="6400412"/>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10" name="Picture 9" descr="Map&#10;&#10;Description automatically generated">
            <a:extLst>
              <a:ext uri="{FF2B5EF4-FFF2-40B4-BE49-F238E27FC236}">
                <a16:creationId xmlns:a16="http://schemas.microsoft.com/office/drawing/2014/main" id="{1634CA93-16A8-5FDE-8DA3-E2531B40F8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80589"/>
            <a:ext cx="11671300" cy="1129995"/>
          </a:xfrm>
        </p:spPr>
        <p:txBody>
          <a:bodyPr>
            <a:normAutofit/>
          </a:bodyPr>
          <a:lstStyle/>
          <a:p>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423164" cy="276999"/>
          </a:xfrm>
          <a:prstGeom prst="rect">
            <a:avLst/>
          </a:prstGeom>
          <a:noFill/>
        </p:spPr>
        <p:txBody>
          <a:bodyPr wrap="none" rtlCol="0">
            <a:spAutoFit/>
          </a:bodyPr>
          <a:lstStyle/>
          <a:p>
            <a:r>
              <a:rPr lang="en-US" sz="1200" dirty="0"/>
              <a:t>Source: GoDaddy Venture Forward </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322729107"/>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a:t>
            </a:r>
            <a:r>
              <a:rPr lang="en-US" sz="1200"/>
              <a:t>: 2017-2021 </a:t>
            </a:r>
            <a:r>
              <a:rPr lang="en-US" sz="1200" dirty="0"/>
              <a:t>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451773073"/>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36525"/>
            <a:ext cx="11671300" cy="1174059"/>
          </a:xfrm>
        </p:spPr>
        <p:txBody>
          <a:bodyPr>
            <a:normAutofit/>
          </a:bodyPr>
          <a:lstStyle/>
          <a:p>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505608535"/>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EB4CC4F6-2F6B-8AF9-8151-CB2C0FF4BAC4}"/>
              </a:ext>
            </a:extLst>
          </p:cNvPr>
          <p:cNvSpPr txBox="1"/>
          <p:nvPr/>
        </p:nvSpPr>
        <p:spPr>
          <a:xfrm>
            <a:off x="3515749" y="3023660"/>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5.7</a:t>
            </a:r>
            <a:endParaRPr lang="en-US" sz="1200" b="1" dirty="0"/>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957986" y="460296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957986" y="2376426"/>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4114823" y="2376426"/>
            <a:ext cx="0" cy="582231"/>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p:cNvCxnSpPr>
          <p:nvPr/>
        </p:nvCxnSpPr>
        <p:spPr>
          <a:xfrm>
            <a:off x="4114823" y="3986314"/>
            <a:ext cx="0" cy="61094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20A225E-A640-906C-A470-552759842A43}"/>
              </a:ext>
            </a:extLst>
          </p:cNvPr>
          <p:cNvSpPr txBox="1"/>
          <p:nvPr/>
        </p:nvSpPr>
        <p:spPr>
          <a:xfrm>
            <a:off x="7023870" y="310313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2.5</a:t>
            </a:r>
            <a:endParaRPr lang="en-US" sz="1200" b="1" dirty="0"/>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7472343" y="454563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7469398" y="260750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flipH="1">
            <a:off x="7622944" y="2607502"/>
            <a:ext cx="1" cy="49563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p:cNvCxnSpPr>
          <p:nvPr/>
        </p:nvCxnSpPr>
        <p:spPr>
          <a:xfrm>
            <a:off x="7622945" y="4047628"/>
            <a:ext cx="0" cy="47809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A68ADBE-AECC-EE60-7E94-3675B33E08AE}"/>
              </a:ext>
            </a:extLst>
          </p:cNvPr>
          <p:cNvSpPr txBox="1"/>
          <p:nvPr/>
        </p:nvSpPr>
        <p:spPr>
          <a:xfrm>
            <a:off x="10531991" y="259867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2.6</a:t>
            </a:r>
            <a:endParaRPr lang="en-US" sz="1200" b="1" dirty="0"/>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10988790" y="403124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10979420" y="2107764"/>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p:cNvCxnSpPr>
          <p:nvPr/>
        </p:nvCxnSpPr>
        <p:spPr>
          <a:xfrm>
            <a:off x="11131066" y="2107764"/>
            <a:ext cx="0" cy="43000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p:cNvCxnSpPr>
          <p:nvPr/>
        </p:nvCxnSpPr>
        <p:spPr>
          <a:xfrm>
            <a:off x="11145627" y="3538299"/>
            <a:ext cx="0" cy="48623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AADBAC77-8094-925B-9C83-2132E5A4A84C}"/>
              </a:ext>
            </a:extLst>
          </p:cNvPr>
          <p:cNvSpPr txBox="1"/>
          <p:nvPr/>
        </p:nvSpPr>
        <p:spPr>
          <a:xfrm>
            <a:off x="245533" y="6189511"/>
            <a:ext cx="4026127" cy="646331"/>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69735" y="6189511"/>
            <a:ext cx="5977813" cy="646331"/>
          </a:xfrm>
          <a:prstGeom prst="rect">
            <a:avLst/>
          </a:prstGeom>
          <a:noFill/>
        </p:spPr>
        <p:txBody>
          <a:bodyPr wrap="square" rtlCol="0">
            <a:spAutoFit/>
          </a:bodyPr>
          <a:lstStyle/>
          <a:p>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spTree>
    <p:extLst>
      <p:ext uri="{BB962C8B-B14F-4D97-AF65-F5344CB8AC3E}">
        <p14:creationId xmlns:p14="http://schemas.microsoft.com/office/powerpoint/2010/main" val="5134098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56350"/>
            <a:ext cx="3078692" cy="276999"/>
          </a:xfrm>
          <a:prstGeom prst="rect">
            <a:avLst/>
          </a:prstGeom>
          <a:noFill/>
        </p:spPr>
        <p:txBody>
          <a:bodyPr wrap="square" rtlCol="0">
            <a:spAutoFit/>
          </a:bodyPr>
          <a:lstStyle/>
          <a:p>
            <a:r>
              <a:rPr lang="en-US" sz="1200" dirty="0"/>
              <a:t>Source: Lightcast; Bureau of Economic Analysi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986142717"/>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06088BFF-E008-7036-06DC-C79AACE6A6EF}"/>
              </a:ext>
            </a:extLst>
          </p:cNvPr>
          <p:cNvSpPr txBox="1"/>
          <p:nvPr/>
        </p:nvSpPr>
        <p:spPr>
          <a:xfrm>
            <a:off x="3515932" y="6259810"/>
            <a:ext cx="6466268" cy="461665"/>
          </a:xfrm>
          <a:prstGeom prst="rect">
            <a:avLst/>
          </a:prstGeom>
          <a:noFill/>
        </p:spPr>
        <p:txBody>
          <a:bodyPr wrap="square" rtlCol="0">
            <a:spAutoFit/>
          </a:bodyPr>
          <a:lstStyle/>
          <a:p>
            <a:r>
              <a:rPr lang="en-US" sz="1200" dirty="0"/>
              <a:t>*Includes 44 industries considered to be “fully” part of the digital economy ranging from hardware &amp; software to data processing; does not include warehousing or retail associated with e-commerce</a:t>
            </a:r>
          </a:p>
        </p:txBody>
      </p:sp>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1928926" cy="276999"/>
          </a:xfrm>
          <a:prstGeom prst="rect">
            <a:avLst/>
          </a:prstGeom>
          <a:noFill/>
        </p:spPr>
        <p:txBody>
          <a:bodyPr wrap="none" rtlCol="0">
            <a:spAutoFit/>
          </a:bodyPr>
          <a:lstStyle/>
          <a:p>
            <a:r>
              <a:rPr lang="en-US" sz="1200" dirty="0"/>
              <a:t>Source: Lightcast; Brooking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794982217"/>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6">
            <a:extLst>
              <a:ext uri="{FF2B5EF4-FFF2-40B4-BE49-F238E27FC236}">
                <a16:creationId xmlns:a16="http://schemas.microsoft.com/office/drawing/2014/main" id="{A966EEC7-83EF-771C-E559-BAB55F5A621C}"/>
              </a:ext>
            </a:extLst>
          </p:cNvPr>
          <p:cNvGraphicFramePr>
            <a:graphicFrameLocks/>
          </p:cNvGraphicFramePr>
          <p:nvPr>
            <p:extLst>
              <p:ext uri="{D42A27DB-BD31-4B8C-83A1-F6EECF244321}">
                <p14:modId xmlns:p14="http://schemas.microsoft.com/office/powerpoint/2010/main" val="2788693088"/>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9" name="Content Placeholder 6">
            <a:extLst>
              <a:ext uri="{FF2B5EF4-FFF2-40B4-BE49-F238E27FC236}">
                <a16:creationId xmlns:a16="http://schemas.microsoft.com/office/drawing/2014/main" id="{BF6DEC76-8E72-6168-70C1-6709AC56F21B}"/>
              </a:ext>
            </a:extLst>
          </p:cNvPr>
          <p:cNvGraphicFramePr>
            <a:graphicFrameLocks noGrp="1"/>
          </p:cNvGraphicFramePr>
          <p:nvPr>
            <p:ph idx="1"/>
            <p:extLst>
              <p:ext uri="{D42A27DB-BD31-4B8C-83A1-F6EECF244321}">
                <p14:modId xmlns:p14="http://schemas.microsoft.com/office/powerpoint/2010/main" val="553482445"/>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Educational Attainment: Percent Population 25 or Older</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959323384"/>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387793872"/>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4256189564"/>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524698"/>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78</TotalTime>
  <Words>1476</Words>
  <Application>Microsoft Office PowerPoint</Application>
  <PresentationFormat>Widescreen</PresentationFormat>
  <Paragraphs>143</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cp:revision>
  <dcterms:created xsi:type="dcterms:W3CDTF">2022-07-04T13:32:28Z</dcterms:created>
  <dcterms:modified xsi:type="dcterms:W3CDTF">2023-02-05T23:13:40Z</dcterms:modified>
</cp:coreProperties>
</file>